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83" r:id="rId2"/>
    <p:sldMasterId id="2147483811" r:id="rId3"/>
    <p:sldMasterId id="2147483840" r:id="rId4"/>
  </p:sldMasterIdLst>
  <p:notesMasterIdLst>
    <p:notesMasterId r:id="rId25"/>
  </p:notesMasterIdLst>
  <p:sldIdLst>
    <p:sldId id="2147048321" r:id="rId5"/>
    <p:sldId id="2147048322" r:id="rId6"/>
    <p:sldId id="2147048323" r:id="rId7"/>
    <p:sldId id="2147048324" r:id="rId8"/>
    <p:sldId id="2134806609" r:id="rId9"/>
    <p:sldId id="2147048326" r:id="rId10"/>
    <p:sldId id="2147048328" r:id="rId11"/>
    <p:sldId id="2147048330" r:id="rId12"/>
    <p:sldId id="2147048331" r:id="rId13"/>
    <p:sldId id="2147048332" r:id="rId14"/>
    <p:sldId id="2147048333" r:id="rId15"/>
    <p:sldId id="2147048334" r:id="rId16"/>
    <p:sldId id="2147048336" r:id="rId17"/>
    <p:sldId id="2147048337" r:id="rId18"/>
    <p:sldId id="2147048339" r:id="rId19"/>
    <p:sldId id="2147048340" r:id="rId20"/>
    <p:sldId id="2147048342" r:id="rId21"/>
    <p:sldId id="2147048343" r:id="rId22"/>
    <p:sldId id="2147048345" r:id="rId23"/>
    <p:sldId id="2147048346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DR UK General Slides" id="{82FFF62F-6AF8-4CC5-BD3C-031BF010BEDE}">
          <p14:sldIdLst>
            <p14:sldId id="2147048321"/>
            <p14:sldId id="2147048322"/>
            <p14:sldId id="2147048323"/>
            <p14:sldId id="2147048324"/>
            <p14:sldId id="2134806609"/>
            <p14:sldId id="2147048326"/>
            <p14:sldId id="2147048328"/>
            <p14:sldId id="2147048330"/>
          </p14:sldIdLst>
        </p14:section>
        <p14:section name="Innovation Gateway Platform" id="{63431A99-3AC5-40C5-9CFC-B7CEDD2A169C}">
          <p14:sldIdLst>
            <p14:sldId id="2147048331"/>
            <p14:sldId id="2147048332"/>
            <p14:sldId id="2147048333"/>
            <p14:sldId id="2147048334"/>
            <p14:sldId id="2147048336"/>
          </p14:sldIdLst>
        </p14:section>
        <p14:section name="Cohort Discovery tool" id="{60C58CD2-9AD2-4E31-B015-151F6B83D6BD}">
          <p14:sldIdLst>
            <p14:sldId id="2147048337"/>
            <p14:sldId id="2147048339"/>
            <p14:sldId id="2147048340"/>
            <p14:sldId id="2147048342"/>
            <p14:sldId id="2147048343"/>
            <p14:sldId id="2147048345"/>
            <p14:sldId id="214704834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97C4A9-4437-496A-A46D-F8E0A9330F4F}" v="41" dt="2023-11-09T17:01:57.07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68281" autoAdjust="0"/>
  </p:normalViewPr>
  <p:slideViewPr>
    <p:cSldViewPr snapToGrid="0">
      <p:cViewPr varScale="1">
        <p:scale>
          <a:sx n="75" d="100"/>
          <a:sy n="75" d="100"/>
        </p:scale>
        <p:origin x="1950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aac Odiase" userId="7169b8fa-f376-4067-a9ab-01f95b3f87f4" providerId="ADAL" clId="{4097C4A9-4437-496A-A46D-F8E0A9330F4F}"/>
    <pc:docChg chg="undo custSel addSld delSld modSld sldOrd delMainMaster modSection">
      <pc:chgData name="Isaac Odiase" userId="7169b8fa-f376-4067-a9ab-01f95b3f87f4" providerId="ADAL" clId="{4097C4A9-4437-496A-A46D-F8E0A9330F4F}" dt="2023-11-09T17:04:36.176" v="1749" actId="2696"/>
      <pc:docMkLst>
        <pc:docMk/>
      </pc:docMkLst>
      <pc:sldChg chg="del">
        <pc:chgData name="Isaac Odiase" userId="7169b8fa-f376-4067-a9ab-01f95b3f87f4" providerId="ADAL" clId="{4097C4A9-4437-496A-A46D-F8E0A9330F4F}" dt="2023-11-06T17:40:37.663" v="410" actId="2696"/>
        <pc:sldMkLst>
          <pc:docMk/>
          <pc:sldMk cId="2032960990" sldId="2142533388"/>
        </pc:sldMkLst>
      </pc:sldChg>
      <pc:sldChg chg="del">
        <pc:chgData name="Isaac Odiase" userId="7169b8fa-f376-4067-a9ab-01f95b3f87f4" providerId="ADAL" clId="{4097C4A9-4437-496A-A46D-F8E0A9330F4F}" dt="2023-11-06T17:27:16.016" v="1" actId="2696"/>
        <pc:sldMkLst>
          <pc:docMk/>
          <pc:sldMk cId="27186617" sldId="2142533422"/>
        </pc:sldMkLst>
      </pc:sldChg>
      <pc:sldChg chg="del">
        <pc:chgData name="Isaac Odiase" userId="7169b8fa-f376-4067-a9ab-01f95b3f87f4" providerId="ADAL" clId="{4097C4A9-4437-496A-A46D-F8E0A9330F4F}" dt="2023-11-06T17:28:23.956" v="20" actId="2696"/>
        <pc:sldMkLst>
          <pc:docMk/>
          <pc:sldMk cId="3577649117" sldId="2142533423"/>
        </pc:sldMkLst>
      </pc:sldChg>
      <pc:sldChg chg="del">
        <pc:chgData name="Isaac Odiase" userId="7169b8fa-f376-4067-a9ab-01f95b3f87f4" providerId="ADAL" clId="{4097C4A9-4437-496A-A46D-F8E0A9330F4F}" dt="2023-11-06T17:39:36.283" v="373" actId="2696"/>
        <pc:sldMkLst>
          <pc:docMk/>
          <pc:sldMk cId="1469559547" sldId="2147048135"/>
        </pc:sldMkLst>
      </pc:sldChg>
      <pc:sldChg chg="del">
        <pc:chgData name="Isaac Odiase" userId="7169b8fa-f376-4067-a9ab-01f95b3f87f4" providerId="ADAL" clId="{4097C4A9-4437-496A-A46D-F8E0A9330F4F}" dt="2023-11-06T18:03:52.958" v="1108" actId="2696"/>
        <pc:sldMkLst>
          <pc:docMk/>
          <pc:sldMk cId="3995125686" sldId="2147048136"/>
        </pc:sldMkLst>
      </pc:sldChg>
      <pc:sldChg chg="del">
        <pc:chgData name="Isaac Odiase" userId="7169b8fa-f376-4067-a9ab-01f95b3f87f4" providerId="ADAL" clId="{4097C4A9-4437-496A-A46D-F8E0A9330F4F}" dt="2023-11-06T17:55:59.480" v="915" actId="2696"/>
        <pc:sldMkLst>
          <pc:docMk/>
          <pc:sldMk cId="2648059941" sldId="2147048192"/>
        </pc:sldMkLst>
      </pc:sldChg>
      <pc:sldChg chg="del">
        <pc:chgData name="Isaac Odiase" userId="7169b8fa-f376-4067-a9ab-01f95b3f87f4" providerId="ADAL" clId="{4097C4A9-4437-496A-A46D-F8E0A9330F4F}" dt="2023-11-06T17:53:03.001" v="791" actId="2696"/>
        <pc:sldMkLst>
          <pc:docMk/>
          <pc:sldMk cId="2657738101" sldId="2147048305"/>
        </pc:sldMkLst>
      </pc:sldChg>
      <pc:sldChg chg="del">
        <pc:chgData name="Isaac Odiase" userId="7169b8fa-f376-4067-a9ab-01f95b3f87f4" providerId="ADAL" clId="{4097C4A9-4437-496A-A46D-F8E0A9330F4F}" dt="2023-11-06T17:49:26.221" v="643" actId="2696"/>
        <pc:sldMkLst>
          <pc:docMk/>
          <pc:sldMk cId="1613814819" sldId="2147048307"/>
        </pc:sldMkLst>
      </pc:sldChg>
      <pc:sldChg chg="del">
        <pc:chgData name="Isaac Odiase" userId="7169b8fa-f376-4067-a9ab-01f95b3f87f4" providerId="ADAL" clId="{4097C4A9-4437-496A-A46D-F8E0A9330F4F}" dt="2023-11-06T17:46:39.192" v="549" actId="2696"/>
        <pc:sldMkLst>
          <pc:docMk/>
          <pc:sldMk cId="1741309452" sldId="2147048308"/>
        </pc:sldMkLst>
      </pc:sldChg>
      <pc:sldChg chg="del">
        <pc:chgData name="Isaac Odiase" userId="7169b8fa-f376-4067-a9ab-01f95b3f87f4" providerId="ADAL" clId="{4097C4A9-4437-496A-A46D-F8E0A9330F4F}" dt="2023-11-06T17:44:49.162" v="486" actId="2696"/>
        <pc:sldMkLst>
          <pc:docMk/>
          <pc:sldMk cId="1161430410" sldId="2147048309"/>
        </pc:sldMkLst>
      </pc:sldChg>
      <pc:sldChg chg="del ord">
        <pc:chgData name="Isaac Odiase" userId="7169b8fa-f376-4067-a9ab-01f95b3f87f4" providerId="ADAL" clId="{4097C4A9-4437-496A-A46D-F8E0A9330F4F}" dt="2023-11-06T18:04:13.838" v="1111" actId="47"/>
        <pc:sldMkLst>
          <pc:docMk/>
          <pc:sldMk cId="1989036285" sldId="2147048310"/>
        </pc:sldMkLst>
      </pc:sldChg>
      <pc:sldChg chg="delSp del mod">
        <pc:chgData name="Isaac Odiase" userId="7169b8fa-f376-4067-a9ab-01f95b3f87f4" providerId="ADAL" clId="{4097C4A9-4437-496A-A46D-F8E0A9330F4F}" dt="2023-11-06T17:33:16.175" v="158" actId="2696"/>
        <pc:sldMkLst>
          <pc:docMk/>
          <pc:sldMk cId="48487521" sldId="2147048311"/>
        </pc:sldMkLst>
        <pc:grpChg chg="del">
          <ac:chgData name="Isaac Odiase" userId="7169b8fa-f376-4067-a9ab-01f95b3f87f4" providerId="ADAL" clId="{4097C4A9-4437-496A-A46D-F8E0A9330F4F}" dt="2023-11-06T17:31:51.515" v="117" actId="21"/>
          <ac:grpSpMkLst>
            <pc:docMk/>
            <pc:sldMk cId="48487521" sldId="2147048311"/>
            <ac:grpSpMk id="3" creationId="{FFA94333-846A-2D6F-B3EC-F8EF175A881D}"/>
          </ac:grpSpMkLst>
        </pc:grpChg>
      </pc:sldChg>
      <pc:sldChg chg="del">
        <pc:chgData name="Isaac Odiase" userId="7169b8fa-f376-4067-a9ab-01f95b3f87f4" providerId="ADAL" clId="{4097C4A9-4437-496A-A46D-F8E0A9330F4F}" dt="2023-11-06T17:59:33.575" v="1019" actId="2696"/>
        <pc:sldMkLst>
          <pc:docMk/>
          <pc:sldMk cId="3271356727" sldId="2147048312"/>
        </pc:sldMkLst>
      </pc:sldChg>
      <pc:sldChg chg="delSp del mod delAnim">
        <pc:chgData name="Isaac Odiase" userId="7169b8fa-f376-4067-a9ab-01f95b3f87f4" providerId="ADAL" clId="{4097C4A9-4437-496A-A46D-F8E0A9330F4F}" dt="2023-11-06T17:58:12.969" v="965" actId="2696"/>
        <pc:sldMkLst>
          <pc:docMk/>
          <pc:sldMk cId="1960511902" sldId="2147048313"/>
        </pc:sldMkLst>
        <pc:picChg chg="del">
          <ac:chgData name="Isaac Odiase" userId="7169b8fa-f376-4067-a9ab-01f95b3f87f4" providerId="ADAL" clId="{4097C4A9-4437-496A-A46D-F8E0A9330F4F}" dt="2023-11-06T17:56:21.050" v="918" actId="21"/>
          <ac:picMkLst>
            <pc:docMk/>
            <pc:sldMk cId="1960511902" sldId="2147048313"/>
            <ac:picMk id="4" creationId="{440BE96F-223E-3A09-7E57-B8D5E4D43347}"/>
          </ac:picMkLst>
        </pc:picChg>
      </pc:sldChg>
      <pc:sldChg chg="del ord">
        <pc:chgData name="Isaac Odiase" userId="7169b8fa-f376-4067-a9ab-01f95b3f87f4" providerId="ADAL" clId="{4097C4A9-4437-496A-A46D-F8E0A9330F4F}" dt="2023-11-06T18:04:09.568" v="1110" actId="47"/>
        <pc:sldMkLst>
          <pc:docMk/>
          <pc:sldMk cId="2689745889" sldId="2147048314"/>
        </pc:sldMkLst>
      </pc:sldChg>
      <pc:sldChg chg="del">
        <pc:chgData name="Isaac Odiase" userId="7169b8fa-f376-4067-a9ab-01f95b3f87f4" providerId="ADAL" clId="{4097C4A9-4437-496A-A46D-F8E0A9330F4F}" dt="2023-11-06T17:54:04.960" v="828" actId="2696"/>
        <pc:sldMkLst>
          <pc:docMk/>
          <pc:sldMk cId="322827300" sldId="2147048315"/>
        </pc:sldMkLst>
      </pc:sldChg>
      <pc:sldChg chg="del">
        <pc:chgData name="Isaac Odiase" userId="7169b8fa-f376-4067-a9ab-01f95b3f87f4" providerId="ADAL" clId="{4097C4A9-4437-496A-A46D-F8E0A9330F4F}" dt="2023-11-06T18:00:16.349" v="1041" actId="2696"/>
        <pc:sldMkLst>
          <pc:docMk/>
          <pc:sldMk cId="581098319" sldId="2147048316"/>
        </pc:sldMkLst>
      </pc:sldChg>
      <pc:sldChg chg="del">
        <pc:chgData name="Isaac Odiase" userId="7169b8fa-f376-4067-a9ab-01f95b3f87f4" providerId="ADAL" clId="{4097C4A9-4437-496A-A46D-F8E0A9330F4F}" dt="2023-11-06T18:03:57.388" v="1109" actId="2696"/>
        <pc:sldMkLst>
          <pc:docMk/>
          <pc:sldMk cId="2251217624" sldId="2147048317"/>
        </pc:sldMkLst>
      </pc:sldChg>
      <pc:sldChg chg="del">
        <pc:chgData name="Isaac Odiase" userId="7169b8fa-f376-4067-a9ab-01f95b3f87f4" providerId="ADAL" clId="{4097C4A9-4437-496A-A46D-F8E0A9330F4F}" dt="2023-11-06T17:50:18.067" v="653" actId="2696"/>
        <pc:sldMkLst>
          <pc:docMk/>
          <pc:sldMk cId="3963847528" sldId="2147048318"/>
        </pc:sldMkLst>
      </pc:sldChg>
      <pc:sldChg chg="del">
        <pc:chgData name="Isaac Odiase" userId="7169b8fa-f376-4067-a9ab-01f95b3f87f4" providerId="ADAL" clId="{4097C4A9-4437-496A-A46D-F8E0A9330F4F}" dt="2023-11-06T17:29:06.711" v="23" actId="2696"/>
        <pc:sldMkLst>
          <pc:docMk/>
          <pc:sldMk cId="3570441748" sldId="2147048319"/>
        </pc:sldMkLst>
      </pc:sldChg>
      <pc:sldChg chg="modSp mod modNotesTx">
        <pc:chgData name="Isaac Odiase" userId="7169b8fa-f376-4067-a9ab-01f95b3f87f4" providerId="ADAL" clId="{4097C4A9-4437-496A-A46D-F8E0A9330F4F}" dt="2023-11-09T16:55:18.089" v="1725" actId="6549"/>
        <pc:sldMkLst>
          <pc:docMk/>
          <pc:sldMk cId="3978845590" sldId="2147048321"/>
        </pc:sldMkLst>
        <pc:spChg chg="mod">
          <ac:chgData name="Isaac Odiase" userId="7169b8fa-f376-4067-a9ab-01f95b3f87f4" providerId="ADAL" clId="{4097C4A9-4437-496A-A46D-F8E0A9330F4F}" dt="2023-11-07T14:06:51.120" v="1132" actId="1076"/>
          <ac:spMkLst>
            <pc:docMk/>
            <pc:sldMk cId="3978845590" sldId="2147048321"/>
            <ac:spMk id="4" creationId="{09FC3788-2604-9BC5-2CF8-A5919C22B252}"/>
          </ac:spMkLst>
        </pc:spChg>
      </pc:sldChg>
      <pc:sldChg chg="modSp mod modNotesTx">
        <pc:chgData name="Isaac Odiase" userId="7169b8fa-f376-4067-a9ab-01f95b3f87f4" providerId="ADAL" clId="{4097C4A9-4437-496A-A46D-F8E0A9330F4F}" dt="2023-11-09T16:55:23.340" v="1726" actId="6549"/>
        <pc:sldMkLst>
          <pc:docMk/>
          <pc:sldMk cId="246005302" sldId="2147048322"/>
        </pc:sldMkLst>
        <pc:spChg chg="mod">
          <ac:chgData name="Isaac Odiase" userId="7169b8fa-f376-4067-a9ab-01f95b3f87f4" providerId="ADAL" clId="{4097C4A9-4437-496A-A46D-F8E0A9330F4F}" dt="2023-11-06T17:28:02.106" v="16" actId="403"/>
          <ac:spMkLst>
            <pc:docMk/>
            <pc:sldMk cId="246005302" sldId="2147048322"/>
            <ac:spMk id="2" creationId="{AE5DC848-BC6B-5184-E7F2-6DEFC0BD6216}"/>
          </ac:spMkLst>
        </pc:spChg>
        <pc:spChg chg="mod">
          <ac:chgData name="Isaac Odiase" userId="7169b8fa-f376-4067-a9ab-01f95b3f87f4" providerId="ADAL" clId="{4097C4A9-4437-496A-A46D-F8E0A9330F4F}" dt="2023-11-07T14:09:02.624" v="1159" actId="20577"/>
          <ac:spMkLst>
            <pc:docMk/>
            <pc:sldMk cId="246005302" sldId="2147048322"/>
            <ac:spMk id="3" creationId="{D5575491-BE21-677A-0D5D-EC28D0735B86}"/>
          </ac:spMkLst>
        </pc:spChg>
      </pc:sldChg>
      <pc:sldChg chg="modSp new mod">
        <pc:chgData name="Isaac Odiase" userId="7169b8fa-f376-4067-a9ab-01f95b3f87f4" providerId="ADAL" clId="{4097C4A9-4437-496A-A46D-F8E0A9330F4F}" dt="2023-11-07T14:12:23.279" v="1199" actId="20577"/>
        <pc:sldMkLst>
          <pc:docMk/>
          <pc:sldMk cId="1656055948" sldId="2147048323"/>
        </pc:sldMkLst>
        <pc:spChg chg="mod">
          <ac:chgData name="Isaac Odiase" userId="7169b8fa-f376-4067-a9ab-01f95b3f87f4" providerId="ADAL" clId="{4097C4A9-4437-496A-A46D-F8E0A9330F4F}" dt="2023-11-06T17:27:52.746" v="12" actId="404"/>
          <ac:spMkLst>
            <pc:docMk/>
            <pc:sldMk cId="1656055948" sldId="2147048323"/>
            <ac:spMk id="2" creationId="{FA186CD2-7C1F-C3C2-3695-91255E0F2523}"/>
          </ac:spMkLst>
        </pc:spChg>
        <pc:spChg chg="mod">
          <ac:chgData name="Isaac Odiase" userId="7169b8fa-f376-4067-a9ab-01f95b3f87f4" providerId="ADAL" clId="{4097C4A9-4437-496A-A46D-F8E0A9330F4F}" dt="2023-11-07T14:12:23.279" v="1199" actId="20577"/>
          <ac:spMkLst>
            <pc:docMk/>
            <pc:sldMk cId="1656055948" sldId="2147048323"/>
            <ac:spMk id="3" creationId="{7BF4EE3D-67B2-0AAF-6602-D0D481DC9ACA}"/>
          </ac:spMkLst>
        </pc:spChg>
      </pc:sldChg>
      <pc:sldChg chg="modSp new mod">
        <pc:chgData name="Isaac Odiase" userId="7169b8fa-f376-4067-a9ab-01f95b3f87f4" providerId="ADAL" clId="{4097C4A9-4437-496A-A46D-F8E0A9330F4F}" dt="2023-11-06T17:28:55.128" v="22"/>
        <pc:sldMkLst>
          <pc:docMk/>
          <pc:sldMk cId="417770223" sldId="2147048324"/>
        </pc:sldMkLst>
        <pc:spChg chg="mod">
          <ac:chgData name="Isaac Odiase" userId="7169b8fa-f376-4067-a9ab-01f95b3f87f4" providerId="ADAL" clId="{4097C4A9-4437-496A-A46D-F8E0A9330F4F}" dt="2023-11-06T17:28:55.128" v="22"/>
          <ac:spMkLst>
            <pc:docMk/>
            <pc:sldMk cId="417770223" sldId="2147048324"/>
            <ac:spMk id="2" creationId="{73551B8F-AED7-8EA6-DCE1-14A4031E693B}"/>
          </ac:spMkLst>
        </pc:spChg>
      </pc:sldChg>
      <pc:sldChg chg="modSp new del mod">
        <pc:chgData name="Isaac Odiase" userId="7169b8fa-f376-4067-a9ab-01f95b3f87f4" providerId="ADAL" clId="{4097C4A9-4437-496A-A46D-F8E0A9330F4F}" dt="2023-11-06T17:31:13.719" v="67" actId="47"/>
        <pc:sldMkLst>
          <pc:docMk/>
          <pc:sldMk cId="2885615667" sldId="2147048325"/>
        </pc:sldMkLst>
        <pc:spChg chg="mod">
          <ac:chgData name="Isaac Odiase" userId="7169b8fa-f376-4067-a9ab-01f95b3f87f4" providerId="ADAL" clId="{4097C4A9-4437-496A-A46D-F8E0A9330F4F}" dt="2023-11-06T17:29:48.355" v="28" actId="403"/>
          <ac:spMkLst>
            <pc:docMk/>
            <pc:sldMk cId="2885615667" sldId="2147048325"/>
            <ac:spMk id="2" creationId="{FD817F6C-5927-C106-18A8-95EC8954A0F3}"/>
          </ac:spMkLst>
        </pc:spChg>
      </pc:sldChg>
      <pc:sldChg chg="addSp modSp new mod ord modAnim">
        <pc:chgData name="Isaac Odiase" userId="7169b8fa-f376-4067-a9ab-01f95b3f87f4" providerId="ADAL" clId="{4097C4A9-4437-496A-A46D-F8E0A9330F4F}" dt="2023-11-06T17:34:37.759" v="171" actId="20577"/>
        <pc:sldMkLst>
          <pc:docMk/>
          <pc:sldMk cId="1709080773" sldId="2147048326"/>
        </pc:sldMkLst>
        <pc:spChg chg="mod">
          <ac:chgData name="Isaac Odiase" userId="7169b8fa-f376-4067-a9ab-01f95b3f87f4" providerId="ADAL" clId="{4097C4A9-4437-496A-A46D-F8E0A9330F4F}" dt="2023-11-06T17:34:37.759" v="171" actId="20577"/>
          <ac:spMkLst>
            <pc:docMk/>
            <pc:sldMk cId="1709080773" sldId="2147048326"/>
            <ac:spMk id="2" creationId="{9ED54A6D-3F54-E2E0-4CE3-4CD0ACC663D8}"/>
          </ac:spMkLst>
        </pc:spChg>
        <pc:spChg chg="add mod">
          <ac:chgData name="Isaac Odiase" userId="7169b8fa-f376-4067-a9ab-01f95b3f87f4" providerId="ADAL" clId="{4097C4A9-4437-496A-A46D-F8E0A9330F4F}" dt="2023-11-06T17:33:56.285" v="163"/>
          <ac:spMkLst>
            <pc:docMk/>
            <pc:sldMk cId="1709080773" sldId="2147048326"/>
            <ac:spMk id="3" creationId="{01DDB1B9-9A09-CA81-E1B9-4B4BC469EB5B}"/>
          </ac:spMkLst>
        </pc:spChg>
        <pc:spChg chg="add mod">
          <ac:chgData name="Isaac Odiase" userId="7169b8fa-f376-4067-a9ab-01f95b3f87f4" providerId="ADAL" clId="{4097C4A9-4437-496A-A46D-F8E0A9330F4F}" dt="2023-11-06T17:34:14.290" v="164" actId="33524"/>
          <ac:spMkLst>
            <pc:docMk/>
            <pc:sldMk cId="1709080773" sldId="2147048326"/>
            <ac:spMk id="4" creationId="{3DA0E558-EBB9-641B-5C05-CBBB84231DEE}"/>
          </ac:spMkLst>
        </pc:spChg>
        <pc:spChg chg="add mod">
          <ac:chgData name="Isaac Odiase" userId="7169b8fa-f376-4067-a9ab-01f95b3f87f4" providerId="ADAL" clId="{4097C4A9-4437-496A-A46D-F8E0A9330F4F}" dt="2023-11-06T17:33:56.285" v="163"/>
          <ac:spMkLst>
            <pc:docMk/>
            <pc:sldMk cId="1709080773" sldId="2147048326"/>
            <ac:spMk id="5" creationId="{E54EA916-1BDD-A68A-ABD8-BEF822E9910A}"/>
          </ac:spMkLst>
        </pc:spChg>
        <pc:spChg chg="add mod">
          <ac:chgData name="Isaac Odiase" userId="7169b8fa-f376-4067-a9ab-01f95b3f87f4" providerId="ADAL" clId="{4097C4A9-4437-496A-A46D-F8E0A9330F4F}" dt="2023-11-06T17:33:56.285" v="163"/>
          <ac:spMkLst>
            <pc:docMk/>
            <pc:sldMk cId="1709080773" sldId="2147048326"/>
            <ac:spMk id="6" creationId="{9C53944A-FBE7-29C8-5756-35003BD1980D}"/>
          </ac:spMkLst>
        </pc:spChg>
        <pc:spChg chg="add mod">
          <ac:chgData name="Isaac Odiase" userId="7169b8fa-f376-4067-a9ab-01f95b3f87f4" providerId="ADAL" clId="{4097C4A9-4437-496A-A46D-F8E0A9330F4F}" dt="2023-11-06T17:33:56.285" v="163"/>
          <ac:spMkLst>
            <pc:docMk/>
            <pc:sldMk cId="1709080773" sldId="2147048326"/>
            <ac:spMk id="7" creationId="{6FB45DF4-1B40-6E4B-FAB0-DC5727AEB333}"/>
          </ac:spMkLst>
        </pc:spChg>
        <pc:spChg chg="add mod">
          <ac:chgData name="Isaac Odiase" userId="7169b8fa-f376-4067-a9ab-01f95b3f87f4" providerId="ADAL" clId="{4097C4A9-4437-496A-A46D-F8E0A9330F4F}" dt="2023-11-06T17:33:56.285" v="163"/>
          <ac:spMkLst>
            <pc:docMk/>
            <pc:sldMk cId="1709080773" sldId="2147048326"/>
            <ac:spMk id="8" creationId="{A174674F-3F44-56CD-ED46-FAAAF452C50B}"/>
          </ac:spMkLst>
        </pc:spChg>
        <pc:spChg chg="add mod">
          <ac:chgData name="Isaac Odiase" userId="7169b8fa-f376-4067-a9ab-01f95b3f87f4" providerId="ADAL" clId="{4097C4A9-4437-496A-A46D-F8E0A9330F4F}" dt="2023-11-06T17:33:56.285" v="163"/>
          <ac:spMkLst>
            <pc:docMk/>
            <pc:sldMk cId="1709080773" sldId="2147048326"/>
            <ac:spMk id="9" creationId="{231B6D67-E290-7756-CD3B-8EB924171627}"/>
          </ac:spMkLst>
        </pc:spChg>
        <pc:spChg chg="add mod">
          <ac:chgData name="Isaac Odiase" userId="7169b8fa-f376-4067-a9ab-01f95b3f87f4" providerId="ADAL" clId="{4097C4A9-4437-496A-A46D-F8E0A9330F4F}" dt="2023-11-06T17:33:56.285" v="163"/>
          <ac:spMkLst>
            <pc:docMk/>
            <pc:sldMk cId="1709080773" sldId="2147048326"/>
            <ac:spMk id="10" creationId="{962F92B5-76E9-00DE-F59A-EC97B43C7E3A}"/>
          </ac:spMkLst>
        </pc:spChg>
        <pc:spChg chg="add mod">
          <ac:chgData name="Isaac Odiase" userId="7169b8fa-f376-4067-a9ab-01f95b3f87f4" providerId="ADAL" clId="{4097C4A9-4437-496A-A46D-F8E0A9330F4F}" dt="2023-11-06T17:33:56.285" v="163"/>
          <ac:spMkLst>
            <pc:docMk/>
            <pc:sldMk cId="1709080773" sldId="2147048326"/>
            <ac:spMk id="11" creationId="{3CA6411F-6BA4-9570-B56D-3F09C2F0D0CD}"/>
          </ac:spMkLst>
        </pc:spChg>
        <pc:spChg chg="add mod">
          <ac:chgData name="Isaac Odiase" userId="7169b8fa-f376-4067-a9ab-01f95b3f87f4" providerId="ADAL" clId="{4097C4A9-4437-496A-A46D-F8E0A9330F4F}" dt="2023-11-06T17:33:56.285" v="163"/>
          <ac:spMkLst>
            <pc:docMk/>
            <pc:sldMk cId="1709080773" sldId="2147048326"/>
            <ac:spMk id="12" creationId="{4FA79CD3-718B-3C9D-4492-B58D422F5A06}"/>
          </ac:spMkLst>
        </pc:spChg>
        <pc:spChg chg="add mod">
          <ac:chgData name="Isaac Odiase" userId="7169b8fa-f376-4067-a9ab-01f95b3f87f4" providerId="ADAL" clId="{4097C4A9-4437-496A-A46D-F8E0A9330F4F}" dt="2023-11-06T17:33:56.285" v="163"/>
          <ac:spMkLst>
            <pc:docMk/>
            <pc:sldMk cId="1709080773" sldId="2147048326"/>
            <ac:spMk id="13" creationId="{397DFCDA-2D7C-1A5B-FEC8-272825FAA25E}"/>
          </ac:spMkLst>
        </pc:spChg>
        <pc:spChg chg="add mod">
          <ac:chgData name="Isaac Odiase" userId="7169b8fa-f376-4067-a9ab-01f95b3f87f4" providerId="ADAL" clId="{4097C4A9-4437-496A-A46D-F8E0A9330F4F}" dt="2023-11-06T17:33:56.285" v="163"/>
          <ac:spMkLst>
            <pc:docMk/>
            <pc:sldMk cId="1709080773" sldId="2147048326"/>
            <ac:spMk id="14" creationId="{27CE1A0A-1F27-EBAD-F20E-BA9CD9B7C0C1}"/>
          </ac:spMkLst>
        </pc:spChg>
        <pc:cxnChg chg="add mod">
          <ac:chgData name="Isaac Odiase" userId="7169b8fa-f376-4067-a9ab-01f95b3f87f4" providerId="ADAL" clId="{4097C4A9-4437-496A-A46D-F8E0A9330F4F}" dt="2023-11-06T17:33:56.285" v="163"/>
          <ac:cxnSpMkLst>
            <pc:docMk/>
            <pc:sldMk cId="1709080773" sldId="2147048326"/>
            <ac:cxnSpMk id="15" creationId="{124543D1-5DD9-0D66-25AD-2B36F3E7C36E}"/>
          </ac:cxnSpMkLst>
        </pc:cxnChg>
        <pc:cxnChg chg="add mod">
          <ac:chgData name="Isaac Odiase" userId="7169b8fa-f376-4067-a9ab-01f95b3f87f4" providerId="ADAL" clId="{4097C4A9-4437-496A-A46D-F8E0A9330F4F}" dt="2023-11-06T17:33:56.285" v="163"/>
          <ac:cxnSpMkLst>
            <pc:docMk/>
            <pc:sldMk cId="1709080773" sldId="2147048326"/>
            <ac:cxnSpMk id="16" creationId="{D0636A93-70CC-E0AF-4EC5-B367A0FF781F}"/>
          </ac:cxnSpMkLst>
        </pc:cxnChg>
        <pc:cxnChg chg="add mod">
          <ac:chgData name="Isaac Odiase" userId="7169b8fa-f376-4067-a9ab-01f95b3f87f4" providerId="ADAL" clId="{4097C4A9-4437-496A-A46D-F8E0A9330F4F}" dt="2023-11-06T17:33:56.285" v="163"/>
          <ac:cxnSpMkLst>
            <pc:docMk/>
            <pc:sldMk cId="1709080773" sldId="2147048326"/>
            <ac:cxnSpMk id="17" creationId="{F7398B6F-1F06-DA68-EE2C-DD0187D905A5}"/>
          </ac:cxnSpMkLst>
        </pc:cxnChg>
        <pc:cxnChg chg="add mod">
          <ac:chgData name="Isaac Odiase" userId="7169b8fa-f376-4067-a9ab-01f95b3f87f4" providerId="ADAL" clId="{4097C4A9-4437-496A-A46D-F8E0A9330F4F}" dt="2023-11-06T17:33:56.285" v="163"/>
          <ac:cxnSpMkLst>
            <pc:docMk/>
            <pc:sldMk cId="1709080773" sldId="2147048326"/>
            <ac:cxnSpMk id="18" creationId="{8961F9FA-7AD3-BF40-EB72-D8BAD22593C7}"/>
          </ac:cxnSpMkLst>
        </pc:cxnChg>
        <pc:cxnChg chg="add mod">
          <ac:chgData name="Isaac Odiase" userId="7169b8fa-f376-4067-a9ab-01f95b3f87f4" providerId="ADAL" clId="{4097C4A9-4437-496A-A46D-F8E0A9330F4F}" dt="2023-11-06T17:33:56.285" v="163"/>
          <ac:cxnSpMkLst>
            <pc:docMk/>
            <pc:sldMk cId="1709080773" sldId="2147048326"/>
            <ac:cxnSpMk id="19" creationId="{84614C37-CEFD-D622-4BBB-2E96DDA7CE00}"/>
          </ac:cxnSpMkLst>
        </pc:cxnChg>
        <pc:cxnChg chg="add mod">
          <ac:chgData name="Isaac Odiase" userId="7169b8fa-f376-4067-a9ab-01f95b3f87f4" providerId="ADAL" clId="{4097C4A9-4437-496A-A46D-F8E0A9330F4F}" dt="2023-11-06T17:33:56.285" v="163"/>
          <ac:cxnSpMkLst>
            <pc:docMk/>
            <pc:sldMk cId="1709080773" sldId="2147048326"/>
            <ac:cxnSpMk id="20" creationId="{EE41248D-9FF0-F5AC-FAFF-17CA93DB9962}"/>
          </ac:cxnSpMkLst>
        </pc:cxnChg>
        <pc:cxnChg chg="add mod">
          <ac:chgData name="Isaac Odiase" userId="7169b8fa-f376-4067-a9ab-01f95b3f87f4" providerId="ADAL" clId="{4097C4A9-4437-496A-A46D-F8E0A9330F4F}" dt="2023-11-06T17:33:56.285" v="163"/>
          <ac:cxnSpMkLst>
            <pc:docMk/>
            <pc:sldMk cId="1709080773" sldId="2147048326"/>
            <ac:cxnSpMk id="21" creationId="{09E9922A-3FA5-8F40-8CFD-0E768C5D450F}"/>
          </ac:cxnSpMkLst>
        </pc:cxnChg>
        <pc:cxnChg chg="add mod">
          <ac:chgData name="Isaac Odiase" userId="7169b8fa-f376-4067-a9ab-01f95b3f87f4" providerId="ADAL" clId="{4097C4A9-4437-496A-A46D-F8E0A9330F4F}" dt="2023-11-06T17:33:56.285" v="163"/>
          <ac:cxnSpMkLst>
            <pc:docMk/>
            <pc:sldMk cId="1709080773" sldId="2147048326"/>
            <ac:cxnSpMk id="22" creationId="{7F941499-D590-BF66-E1E2-66639ACD5B81}"/>
          </ac:cxnSpMkLst>
        </pc:cxnChg>
      </pc:sldChg>
      <pc:sldChg chg="new del">
        <pc:chgData name="Isaac Odiase" userId="7169b8fa-f376-4067-a9ab-01f95b3f87f4" providerId="ADAL" clId="{4097C4A9-4437-496A-A46D-F8E0A9330F4F}" dt="2023-11-06T17:30:09.925" v="30" actId="680"/>
        <pc:sldMkLst>
          <pc:docMk/>
          <pc:sldMk cId="3871310012" sldId="2147048326"/>
        </pc:sldMkLst>
      </pc:sldChg>
      <pc:sldChg chg="addSp modSp new del mod ord">
        <pc:chgData name="Isaac Odiase" userId="7169b8fa-f376-4067-a9ab-01f95b3f87f4" providerId="ADAL" clId="{4097C4A9-4437-496A-A46D-F8E0A9330F4F}" dt="2023-11-06T17:33:10.750" v="157" actId="2696"/>
        <pc:sldMkLst>
          <pc:docMk/>
          <pc:sldMk cId="3128514537" sldId="2147048327"/>
        </pc:sldMkLst>
        <pc:spChg chg="mod">
          <ac:chgData name="Isaac Odiase" userId="7169b8fa-f376-4067-a9ab-01f95b3f87f4" providerId="ADAL" clId="{4097C4A9-4437-496A-A46D-F8E0A9330F4F}" dt="2023-11-06T17:31:46.185" v="116" actId="403"/>
          <ac:spMkLst>
            <pc:docMk/>
            <pc:sldMk cId="3128514537" sldId="2147048327"/>
            <ac:spMk id="2" creationId="{1FB6157B-2995-2AB3-B01C-A99E36F3FEA1}"/>
          </ac:spMkLst>
        </pc:spChg>
        <pc:spChg chg="mod">
          <ac:chgData name="Isaac Odiase" userId="7169b8fa-f376-4067-a9ab-01f95b3f87f4" providerId="ADAL" clId="{4097C4A9-4437-496A-A46D-F8E0A9330F4F}" dt="2023-11-06T17:31:55.397" v="118"/>
          <ac:spMkLst>
            <pc:docMk/>
            <pc:sldMk cId="3128514537" sldId="2147048327"/>
            <ac:spMk id="5" creationId="{B5A2A09B-2D39-97C1-3288-8F3A4063B5ED}"/>
          </ac:spMkLst>
        </pc:spChg>
        <pc:spChg chg="mod">
          <ac:chgData name="Isaac Odiase" userId="7169b8fa-f376-4067-a9ab-01f95b3f87f4" providerId="ADAL" clId="{4097C4A9-4437-496A-A46D-F8E0A9330F4F}" dt="2023-11-06T17:31:55.397" v="118"/>
          <ac:spMkLst>
            <pc:docMk/>
            <pc:sldMk cId="3128514537" sldId="2147048327"/>
            <ac:spMk id="6" creationId="{8CD072AF-F7AD-FA94-1501-F3A019F03310}"/>
          </ac:spMkLst>
        </pc:spChg>
        <pc:spChg chg="mod">
          <ac:chgData name="Isaac Odiase" userId="7169b8fa-f376-4067-a9ab-01f95b3f87f4" providerId="ADAL" clId="{4097C4A9-4437-496A-A46D-F8E0A9330F4F}" dt="2023-11-06T17:31:55.397" v="118"/>
          <ac:spMkLst>
            <pc:docMk/>
            <pc:sldMk cId="3128514537" sldId="2147048327"/>
            <ac:spMk id="7" creationId="{4756CD17-4D5D-AF7E-38BC-680819062AF8}"/>
          </ac:spMkLst>
        </pc:spChg>
        <pc:spChg chg="mod">
          <ac:chgData name="Isaac Odiase" userId="7169b8fa-f376-4067-a9ab-01f95b3f87f4" providerId="ADAL" clId="{4097C4A9-4437-496A-A46D-F8E0A9330F4F}" dt="2023-11-06T17:31:55.397" v="118"/>
          <ac:spMkLst>
            <pc:docMk/>
            <pc:sldMk cId="3128514537" sldId="2147048327"/>
            <ac:spMk id="9" creationId="{72863EE8-18F8-6F26-9EA3-04D85E3685F6}"/>
          </ac:spMkLst>
        </pc:spChg>
        <pc:spChg chg="mod">
          <ac:chgData name="Isaac Odiase" userId="7169b8fa-f376-4067-a9ab-01f95b3f87f4" providerId="ADAL" clId="{4097C4A9-4437-496A-A46D-F8E0A9330F4F}" dt="2023-11-06T17:31:55.397" v="118"/>
          <ac:spMkLst>
            <pc:docMk/>
            <pc:sldMk cId="3128514537" sldId="2147048327"/>
            <ac:spMk id="10" creationId="{664C9273-E6F0-4213-C27E-61F656A75928}"/>
          </ac:spMkLst>
        </pc:spChg>
        <pc:spChg chg="mod">
          <ac:chgData name="Isaac Odiase" userId="7169b8fa-f376-4067-a9ab-01f95b3f87f4" providerId="ADAL" clId="{4097C4A9-4437-496A-A46D-F8E0A9330F4F}" dt="2023-11-06T17:31:55.397" v="118"/>
          <ac:spMkLst>
            <pc:docMk/>
            <pc:sldMk cId="3128514537" sldId="2147048327"/>
            <ac:spMk id="11" creationId="{6F1F0E12-F3B2-1685-996A-E42EA31B4663}"/>
          </ac:spMkLst>
        </pc:spChg>
        <pc:grpChg chg="add mod">
          <ac:chgData name="Isaac Odiase" userId="7169b8fa-f376-4067-a9ab-01f95b3f87f4" providerId="ADAL" clId="{4097C4A9-4437-496A-A46D-F8E0A9330F4F}" dt="2023-11-06T17:32:01.325" v="119" actId="1076"/>
          <ac:grpSpMkLst>
            <pc:docMk/>
            <pc:sldMk cId="3128514537" sldId="2147048327"/>
            <ac:grpSpMk id="3" creationId="{7093DA89-AE0F-6058-47CD-1C0E02143EC9}"/>
          </ac:grpSpMkLst>
        </pc:grpChg>
        <pc:grpChg chg="mod">
          <ac:chgData name="Isaac Odiase" userId="7169b8fa-f376-4067-a9ab-01f95b3f87f4" providerId="ADAL" clId="{4097C4A9-4437-496A-A46D-F8E0A9330F4F}" dt="2023-11-06T17:31:55.397" v="118"/>
          <ac:grpSpMkLst>
            <pc:docMk/>
            <pc:sldMk cId="3128514537" sldId="2147048327"/>
            <ac:grpSpMk id="4" creationId="{C541BE7C-F8EE-D950-CA79-3A438C2AE4FE}"/>
          </ac:grpSpMkLst>
        </pc:grpChg>
        <pc:picChg chg="mod">
          <ac:chgData name="Isaac Odiase" userId="7169b8fa-f376-4067-a9ab-01f95b3f87f4" providerId="ADAL" clId="{4097C4A9-4437-496A-A46D-F8E0A9330F4F}" dt="2023-11-06T17:31:55.397" v="118"/>
          <ac:picMkLst>
            <pc:docMk/>
            <pc:sldMk cId="3128514537" sldId="2147048327"/>
            <ac:picMk id="8" creationId="{7467192E-BBF2-E48B-C7FB-85A33A3AAE8E}"/>
          </ac:picMkLst>
        </pc:picChg>
      </pc:sldChg>
      <pc:sldChg chg="addSp modSp new mod">
        <pc:chgData name="Isaac Odiase" userId="7169b8fa-f376-4067-a9ab-01f95b3f87f4" providerId="ADAL" clId="{4097C4A9-4437-496A-A46D-F8E0A9330F4F}" dt="2023-11-06T17:33:21.605" v="162" actId="403"/>
        <pc:sldMkLst>
          <pc:docMk/>
          <pc:sldMk cId="3635761353" sldId="2147048328"/>
        </pc:sldMkLst>
        <pc:spChg chg="mod">
          <ac:chgData name="Isaac Odiase" userId="7169b8fa-f376-4067-a9ab-01f95b3f87f4" providerId="ADAL" clId="{4097C4A9-4437-496A-A46D-F8E0A9330F4F}" dt="2023-11-06T17:33:21.605" v="162" actId="403"/>
          <ac:spMkLst>
            <pc:docMk/>
            <pc:sldMk cId="3635761353" sldId="2147048328"/>
            <ac:spMk id="2" creationId="{8DBEE52B-EB37-287D-5D71-23EA58C80255}"/>
          </ac:spMkLst>
        </pc:spChg>
        <pc:spChg chg="mod">
          <ac:chgData name="Isaac Odiase" userId="7169b8fa-f376-4067-a9ab-01f95b3f87f4" providerId="ADAL" clId="{4097C4A9-4437-496A-A46D-F8E0A9330F4F}" dt="2023-11-06T17:32:58.825" v="155"/>
          <ac:spMkLst>
            <pc:docMk/>
            <pc:sldMk cId="3635761353" sldId="2147048328"/>
            <ac:spMk id="6" creationId="{A4E3E56F-A557-4CB3-738B-0070809BDF77}"/>
          </ac:spMkLst>
        </pc:spChg>
        <pc:spChg chg="mod">
          <ac:chgData name="Isaac Odiase" userId="7169b8fa-f376-4067-a9ab-01f95b3f87f4" providerId="ADAL" clId="{4097C4A9-4437-496A-A46D-F8E0A9330F4F}" dt="2023-11-06T17:32:58.825" v="155"/>
          <ac:spMkLst>
            <pc:docMk/>
            <pc:sldMk cId="3635761353" sldId="2147048328"/>
            <ac:spMk id="7" creationId="{08481445-E8BB-9102-4D4E-83E69C0F8ECA}"/>
          </ac:spMkLst>
        </pc:spChg>
        <pc:spChg chg="mod">
          <ac:chgData name="Isaac Odiase" userId="7169b8fa-f376-4067-a9ab-01f95b3f87f4" providerId="ADAL" clId="{4097C4A9-4437-496A-A46D-F8E0A9330F4F}" dt="2023-11-06T17:32:58.825" v="155"/>
          <ac:spMkLst>
            <pc:docMk/>
            <pc:sldMk cId="3635761353" sldId="2147048328"/>
            <ac:spMk id="8" creationId="{58BE4B62-1388-E84F-E938-EE6B8327740E}"/>
          </ac:spMkLst>
        </pc:spChg>
        <pc:spChg chg="mod">
          <ac:chgData name="Isaac Odiase" userId="7169b8fa-f376-4067-a9ab-01f95b3f87f4" providerId="ADAL" clId="{4097C4A9-4437-496A-A46D-F8E0A9330F4F}" dt="2023-11-06T17:32:58.825" v="155"/>
          <ac:spMkLst>
            <pc:docMk/>
            <pc:sldMk cId="3635761353" sldId="2147048328"/>
            <ac:spMk id="10" creationId="{C26353C0-D803-2576-4035-3497F9201DAC}"/>
          </ac:spMkLst>
        </pc:spChg>
        <pc:spChg chg="mod">
          <ac:chgData name="Isaac Odiase" userId="7169b8fa-f376-4067-a9ab-01f95b3f87f4" providerId="ADAL" clId="{4097C4A9-4437-496A-A46D-F8E0A9330F4F}" dt="2023-11-06T17:32:58.825" v="155"/>
          <ac:spMkLst>
            <pc:docMk/>
            <pc:sldMk cId="3635761353" sldId="2147048328"/>
            <ac:spMk id="11" creationId="{9A7F2881-6E10-020D-9DF1-C7D9D7A17CAD}"/>
          </ac:spMkLst>
        </pc:spChg>
        <pc:spChg chg="mod">
          <ac:chgData name="Isaac Odiase" userId="7169b8fa-f376-4067-a9ab-01f95b3f87f4" providerId="ADAL" clId="{4097C4A9-4437-496A-A46D-F8E0A9330F4F}" dt="2023-11-06T17:32:58.825" v="155"/>
          <ac:spMkLst>
            <pc:docMk/>
            <pc:sldMk cId="3635761353" sldId="2147048328"/>
            <ac:spMk id="12" creationId="{61BBB562-9C60-332F-EAF0-6CA84264530B}"/>
          </ac:spMkLst>
        </pc:spChg>
        <pc:grpChg chg="add mod">
          <ac:chgData name="Isaac Odiase" userId="7169b8fa-f376-4067-a9ab-01f95b3f87f4" providerId="ADAL" clId="{4097C4A9-4437-496A-A46D-F8E0A9330F4F}" dt="2023-11-06T17:33:03.015" v="156" actId="1076"/>
          <ac:grpSpMkLst>
            <pc:docMk/>
            <pc:sldMk cId="3635761353" sldId="2147048328"/>
            <ac:grpSpMk id="4" creationId="{3B71D600-FB5B-66D2-60DF-5EB8BC4F4CDB}"/>
          </ac:grpSpMkLst>
        </pc:grpChg>
        <pc:grpChg chg="mod">
          <ac:chgData name="Isaac Odiase" userId="7169b8fa-f376-4067-a9ab-01f95b3f87f4" providerId="ADAL" clId="{4097C4A9-4437-496A-A46D-F8E0A9330F4F}" dt="2023-11-06T17:32:58.825" v="155"/>
          <ac:grpSpMkLst>
            <pc:docMk/>
            <pc:sldMk cId="3635761353" sldId="2147048328"/>
            <ac:grpSpMk id="5" creationId="{02FFB25C-88ED-256D-9FFD-F000661BE889}"/>
          </ac:grpSpMkLst>
        </pc:grpChg>
        <pc:picChg chg="mod">
          <ac:chgData name="Isaac Odiase" userId="7169b8fa-f376-4067-a9ab-01f95b3f87f4" providerId="ADAL" clId="{4097C4A9-4437-496A-A46D-F8E0A9330F4F}" dt="2023-11-06T17:32:58.825" v="155"/>
          <ac:picMkLst>
            <pc:docMk/>
            <pc:sldMk cId="3635761353" sldId="2147048328"/>
            <ac:picMk id="9" creationId="{8F45B052-88CC-39D4-FBCA-ABA6BDBAF8B9}"/>
          </ac:picMkLst>
        </pc:picChg>
      </pc:sldChg>
      <pc:sldChg chg="modSp new del mod">
        <pc:chgData name="Isaac Odiase" userId="7169b8fa-f376-4067-a9ab-01f95b3f87f4" providerId="ADAL" clId="{4097C4A9-4437-496A-A46D-F8E0A9330F4F}" dt="2023-11-06T17:38:54.464" v="368" actId="2696"/>
        <pc:sldMkLst>
          <pc:docMk/>
          <pc:sldMk cId="2296837356" sldId="2147048329"/>
        </pc:sldMkLst>
        <pc:spChg chg="mod">
          <ac:chgData name="Isaac Odiase" userId="7169b8fa-f376-4067-a9ab-01f95b3f87f4" providerId="ADAL" clId="{4097C4A9-4437-496A-A46D-F8E0A9330F4F}" dt="2023-11-06T17:36:03.584" v="259" actId="20577"/>
          <ac:spMkLst>
            <pc:docMk/>
            <pc:sldMk cId="2296837356" sldId="2147048329"/>
            <ac:spMk id="2" creationId="{39FBD846-3406-2A32-5F2A-21207116808F}"/>
          </ac:spMkLst>
        </pc:spChg>
      </pc:sldChg>
      <pc:sldChg chg="addSp modSp new mod">
        <pc:chgData name="Isaac Odiase" userId="7169b8fa-f376-4067-a9ab-01f95b3f87f4" providerId="ADAL" clId="{4097C4A9-4437-496A-A46D-F8E0A9330F4F}" dt="2023-11-09T16:56:40.361" v="1730" actId="14100"/>
        <pc:sldMkLst>
          <pc:docMk/>
          <pc:sldMk cId="973697241" sldId="2147048330"/>
        </pc:sldMkLst>
        <pc:spChg chg="mod">
          <ac:chgData name="Isaac Odiase" userId="7169b8fa-f376-4067-a9ab-01f95b3f87f4" providerId="ADAL" clId="{4097C4A9-4437-496A-A46D-F8E0A9330F4F}" dt="2023-11-09T16:56:40.361" v="1730" actId="14100"/>
          <ac:spMkLst>
            <pc:docMk/>
            <pc:sldMk cId="973697241" sldId="2147048330"/>
            <ac:spMk id="2" creationId="{771C2E03-3351-4979-53C6-0EC03A3A14C7}"/>
          </ac:spMkLst>
        </pc:spChg>
        <pc:spChg chg="mod">
          <ac:chgData name="Isaac Odiase" userId="7169b8fa-f376-4067-a9ab-01f95b3f87f4" providerId="ADAL" clId="{4097C4A9-4437-496A-A46D-F8E0A9330F4F}" dt="2023-11-06T17:38:20.866" v="362" actId="1036"/>
          <ac:spMkLst>
            <pc:docMk/>
            <pc:sldMk cId="973697241" sldId="2147048330"/>
            <ac:spMk id="8" creationId="{A33E05D6-79D3-862D-BABF-AB5C2A91664C}"/>
          </ac:spMkLst>
        </pc:spChg>
        <pc:spChg chg="mod">
          <ac:chgData name="Isaac Odiase" userId="7169b8fa-f376-4067-a9ab-01f95b3f87f4" providerId="ADAL" clId="{4097C4A9-4437-496A-A46D-F8E0A9330F4F}" dt="2023-11-06T17:38:20.866" v="362" actId="1036"/>
          <ac:spMkLst>
            <pc:docMk/>
            <pc:sldMk cId="973697241" sldId="2147048330"/>
            <ac:spMk id="9" creationId="{6D587A59-C522-23D0-9F0D-A2766EBEB641}"/>
          </ac:spMkLst>
        </pc:spChg>
        <pc:spChg chg="mod">
          <ac:chgData name="Isaac Odiase" userId="7169b8fa-f376-4067-a9ab-01f95b3f87f4" providerId="ADAL" clId="{4097C4A9-4437-496A-A46D-F8E0A9330F4F}" dt="2023-11-06T17:38:20.866" v="362" actId="1036"/>
          <ac:spMkLst>
            <pc:docMk/>
            <pc:sldMk cId="973697241" sldId="2147048330"/>
            <ac:spMk id="10" creationId="{F64672CE-CEC6-CCD0-4B23-1006EF23536B}"/>
          </ac:spMkLst>
        </pc:spChg>
        <pc:spChg chg="mod">
          <ac:chgData name="Isaac Odiase" userId="7169b8fa-f376-4067-a9ab-01f95b3f87f4" providerId="ADAL" clId="{4097C4A9-4437-496A-A46D-F8E0A9330F4F}" dt="2023-11-06T17:38:20.866" v="362" actId="1036"/>
          <ac:spMkLst>
            <pc:docMk/>
            <pc:sldMk cId="973697241" sldId="2147048330"/>
            <ac:spMk id="11" creationId="{D6E158FD-F71F-C6B7-2DD7-3C30859A14CF}"/>
          </ac:spMkLst>
        </pc:spChg>
        <pc:spChg chg="mod">
          <ac:chgData name="Isaac Odiase" userId="7169b8fa-f376-4067-a9ab-01f95b3f87f4" providerId="ADAL" clId="{4097C4A9-4437-496A-A46D-F8E0A9330F4F}" dt="2023-11-06T17:38:20.866" v="362" actId="1036"/>
          <ac:spMkLst>
            <pc:docMk/>
            <pc:sldMk cId="973697241" sldId="2147048330"/>
            <ac:spMk id="12" creationId="{452EF3BB-B83D-E2B2-6B0A-64AD27EB6AA3}"/>
          </ac:spMkLst>
        </pc:spChg>
        <pc:spChg chg="mod">
          <ac:chgData name="Isaac Odiase" userId="7169b8fa-f376-4067-a9ab-01f95b3f87f4" providerId="ADAL" clId="{4097C4A9-4437-496A-A46D-F8E0A9330F4F}" dt="2023-11-06T17:38:20.866" v="362" actId="1036"/>
          <ac:spMkLst>
            <pc:docMk/>
            <pc:sldMk cId="973697241" sldId="2147048330"/>
            <ac:spMk id="15" creationId="{3917C8A9-A652-AAEA-294E-0B83E4472906}"/>
          </ac:spMkLst>
        </pc:spChg>
        <pc:spChg chg="mod">
          <ac:chgData name="Isaac Odiase" userId="7169b8fa-f376-4067-a9ab-01f95b3f87f4" providerId="ADAL" clId="{4097C4A9-4437-496A-A46D-F8E0A9330F4F}" dt="2023-11-06T17:38:20.866" v="362" actId="1036"/>
          <ac:spMkLst>
            <pc:docMk/>
            <pc:sldMk cId="973697241" sldId="2147048330"/>
            <ac:spMk id="16" creationId="{3DF89370-F2CD-10BA-4741-4BD79C6FA4B8}"/>
          </ac:spMkLst>
        </pc:spChg>
        <pc:spChg chg="mod">
          <ac:chgData name="Isaac Odiase" userId="7169b8fa-f376-4067-a9ab-01f95b3f87f4" providerId="ADAL" clId="{4097C4A9-4437-496A-A46D-F8E0A9330F4F}" dt="2023-11-06T17:38:20.866" v="362" actId="1036"/>
          <ac:spMkLst>
            <pc:docMk/>
            <pc:sldMk cId="973697241" sldId="2147048330"/>
            <ac:spMk id="27" creationId="{3A3F7F22-7951-405C-DDD3-94F8AB5F1F8F}"/>
          </ac:spMkLst>
        </pc:spChg>
        <pc:spChg chg="add mod">
          <ac:chgData name="Isaac Odiase" userId="7169b8fa-f376-4067-a9ab-01f95b3f87f4" providerId="ADAL" clId="{4097C4A9-4437-496A-A46D-F8E0A9330F4F}" dt="2023-11-06T17:38:33.594" v="363"/>
          <ac:spMkLst>
            <pc:docMk/>
            <pc:sldMk cId="973697241" sldId="2147048330"/>
            <ac:spMk id="28" creationId="{E348161D-E13A-F0C8-1C60-3E2B5DDCCD40}"/>
          </ac:spMkLst>
        </pc:spChg>
        <pc:grpChg chg="add mod">
          <ac:chgData name="Isaac Odiase" userId="7169b8fa-f376-4067-a9ab-01f95b3f87f4" providerId="ADAL" clId="{4097C4A9-4437-496A-A46D-F8E0A9330F4F}" dt="2023-11-06T17:38:20.866" v="362" actId="1036"/>
          <ac:grpSpMkLst>
            <pc:docMk/>
            <pc:sldMk cId="973697241" sldId="2147048330"/>
            <ac:grpSpMk id="4" creationId="{F185E337-6273-EB37-EE56-EC14972B2E5B}"/>
          </ac:grpSpMkLst>
        </pc:grpChg>
        <pc:grpChg chg="mod">
          <ac:chgData name="Isaac Odiase" userId="7169b8fa-f376-4067-a9ab-01f95b3f87f4" providerId="ADAL" clId="{4097C4A9-4437-496A-A46D-F8E0A9330F4F}" dt="2023-11-06T17:38:20.866" v="362" actId="1036"/>
          <ac:grpSpMkLst>
            <pc:docMk/>
            <pc:sldMk cId="973697241" sldId="2147048330"/>
            <ac:grpSpMk id="6" creationId="{316C7BA4-B21C-8275-7F2C-9013C3FE39A7}"/>
          </ac:grpSpMkLst>
        </pc:grp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5" creationId="{ECA0263D-8FCC-9CB3-E31C-FE6F409F443A}"/>
          </ac:cxnSpMkLst>
        </pc:cxn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7" creationId="{EACC0217-B0B1-F028-BD44-B89B99DE2085}"/>
          </ac:cxnSpMkLst>
        </pc:cxn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13" creationId="{A0F67CF6-2901-F65C-58C6-21F4AB54842D}"/>
          </ac:cxnSpMkLst>
        </pc:cxn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14" creationId="{A10ED13E-62E1-7893-0D89-2CEDB19C8AFB}"/>
          </ac:cxnSpMkLst>
        </pc:cxn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17" creationId="{89E0FF23-27E9-6A44-FC80-D580E3D89920}"/>
          </ac:cxnSpMkLst>
        </pc:cxn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18" creationId="{9717F880-639C-A429-0459-96ADA3380B85}"/>
          </ac:cxnSpMkLst>
        </pc:cxn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19" creationId="{2726665E-1CE0-A30A-0374-9AF3A12E1B60}"/>
          </ac:cxnSpMkLst>
        </pc:cxn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20" creationId="{1E16CFE9-8B5F-DE6C-2DD5-6352F2FEB6B6}"/>
          </ac:cxnSpMkLst>
        </pc:cxn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21" creationId="{8DADCC5E-DBE5-01AA-3E83-B86611D0ED6C}"/>
          </ac:cxnSpMkLst>
        </pc:cxn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22" creationId="{650B2686-6AC3-E157-55A7-0F30B7C9F619}"/>
          </ac:cxnSpMkLst>
        </pc:cxn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23" creationId="{C9798A61-D2DA-4E26-2BD1-FAFBFE9B3E75}"/>
          </ac:cxnSpMkLst>
        </pc:cxn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24" creationId="{92460A5C-D3AD-57D3-CE39-5FACEBAF68A8}"/>
          </ac:cxnSpMkLst>
        </pc:cxn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25" creationId="{7F7FB500-87D7-2465-AF2F-BC7647F0AEC8}"/>
          </ac:cxnSpMkLst>
        </pc:cxnChg>
        <pc:cxnChg chg="mod">
          <ac:chgData name="Isaac Odiase" userId="7169b8fa-f376-4067-a9ab-01f95b3f87f4" providerId="ADAL" clId="{4097C4A9-4437-496A-A46D-F8E0A9330F4F}" dt="2023-11-06T17:38:20.866" v="362" actId="1036"/>
          <ac:cxnSpMkLst>
            <pc:docMk/>
            <pc:sldMk cId="973697241" sldId="2147048330"/>
            <ac:cxnSpMk id="26" creationId="{D8A1859E-4C22-68FD-DE86-2559008F0DC7}"/>
          </ac:cxnSpMkLst>
        </pc:cxnChg>
      </pc:sldChg>
      <pc:sldChg chg="new del">
        <pc:chgData name="Isaac Odiase" userId="7169b8fa-f376-4067-a9ab-01f95b3f87f4" providerId="ADAL" clId="{4097C4A9-4437-496A-A46D-F8E0A9330F4F}" dt="2023-11-06T17:36:29.714" v="261" actId="2696"/>
        <pc:sldMkLst>
          <pc:docMk/>
          <pc:sldMk cId="1028934168" sldId="2147048330"/>
        </pc:sldMkLst>
      </pc:sldChg>
      <pc:sldChg chg="modSp new mod">
        <pc:chgData name="Isaac Odiase" userId="7169b8fa-f376-4067-a9ab-01f95b3f87f4" providerId="ADAL" clId="{4097C4A9-4437-496A-A46D-F8E0A9330F4F}" dt="2023-11-06T17:39:27.268" v="372"/>
        <pc:sldMkLst>
          <pc:docMk/>
          <pc:sldMk cId="2789377198" sldId="2147048331"/>
        </pc:sldMkLst>
        <pc:spChg chg="mod">
          <ac:chgData name="Isaac Odiase" userId="7169b8fa-f376-4067-a9ab-01f95b3f87f4" providerId="ADAL" clId="{4097C4A9-4437-496A-A46D-F8E0A9330F4F}" dt="2023-11-06T17:39:27.268" v="372"/>
          <ac:spMkLst>
            <pc:docMk/>
            <pc:sldMk cId="2789377198" sldId="2147048331"/>
            <ac:spMk id="2" creationId="{B2E98756-D9A8-C2B4-07F6-6DD6732EEC00}"/>
          </ac:spMkLst>
        </pc:spChg>
      </pc:sldChg>
      <pc:sldChg chg="addSp modSp new mod modNotesTx">
        <pc:chgData name="Isaac Odiase" userId="7169b8fa-f376-4067-a9ab-01f95b3f87f4" providerId="ADAL" clId="{4097C4A9-4437-496A-A46D-F8E0A9330F4F}" dt="2023-11-09T17:03:48.898" v="1746" actId="113"/>
        <pc:sldMkLst>
          <pc:docMk/>
          <pc:sldMk cId="975941571" sldId="2147048332"/>
        </pc:sldMkLst>
        <pc:spChg chg="mod">
          <ac:chgData name="Isaac Odiase" userId="7169b8fa-f376-4067-a9ab-01f95b3f87f4" providerId="ADAL" clId="{4097C4A9-4437-496A-A46D-F8E0A9330F4F}" dt="2023-11-06T17:40:32.223" v="409" actId="403"/>
          <ac:spMkLst>
            <pc:docMk/>
            <pc:sldMk cId="975941571" sldId="2147048332"/>
            <ac:spMk id="2" creationId="{A52A2F88-4CF7-8A99-689B-38009CF338F9}"/>
          </ac:spMkLst>
        </pc:spChg>
        <pc:spChg chg="add mod">
          <ac:chgData name="Isaac Odiase" userId="7169b8fa-f376-4067-a9ab-01f95b3f87f4" providerId="ADAL" clId="{4097C4A9-4437-496A-A46D-F8E0A9330F4F}" dt="2023-11-09T17:03:48.898" v="1746" actId="113"/>
          <ac:spMkLst>
            <pc:docMk/>
            <pc:sldMk cId="975941571" sldId="2147048332"/>
            <ac:spMk id="6" creationId="{699DA077-2F4D-F88D-BDAD-6AA48203F5F4}"/>
          </ac:spMkLst>
        </pc:spChg>
        <pc:picChg chg="add mod">
          <ac:chgData name="Isaac Odiase" userId="7169b8fa-f376-4067-a9ab-01f95b3f87f4" providerId="ADAL" clId="{4097C4A9-4437-496A-A46D-F8E0A9330F4F}" dt="2023-11-09T17:03:29.630" v="1741" actId="14100"/>
          <ac:picMkLst>
            <pc:docMk/>
            <pc:sldMk cId="975941571" sldId="2147048332"/>
            <ac:picMk id="4" creationId="{09D67192-8F4D-BE89-F15C-B20D1E6FEA6D}"/>
          </ac:picMkLst>
        </pc:picChg>
      </pc:sldChg>
      <pc:sldChg chg="addSp modSp new mod">
        <pc:chgData name="Isaac Odiase" userId="7169b8fa-f376-4067-a9ab-01f95b3f87f4" providerId="ADAL" clId="{4097C4A9-4437-496A-A46D-F8E0A9330F4F}" dt="2023-11-06T17:44:42.162" v="485" actId="1036"/>
        <pc:sldMkLst>
          <pc:docMk/>
          <pc:sldMk cId="1328989449" sldId="2147048333"/>
        </pc:sldMkLst>
        <pc:spChg chg="mod">
          <ac:chgData name="Isaac Odiase" userId="7169b8fa-f376-4067-a9ab-01f95b3f87f4" providerId="ADAL" clId="{4097C4A9-4437-496A-A46D-F8E0A9330F4F}" dt="2023-11-06T17:44:23.187" v="476" actId="403"/>
          <ac:spMkLst>
            <pc:docMk/>
            <pc:sldMk cId="1328989449" sldId="2147048333"/>
            <ac:spMk id="2" creationId="{45E20462-22F3-A381-802F-EF29FE2EF9C6}"/>
          </ac:spMkLst>
        </pc:spChg>
        <pc:spChg chg="mod">
          <ac:chgData name="Isaac Odiase" userId="7169b8fa-f376-4067-a9ab-01f95b3f87f4" providerId="ADAL" clId="{4097C4A9-4437-496A-A46D-F8E0A9330F4F}" dt="2023-11-06T17:44:42.162" v="485" actId="1036"/>
          <ac:spMkLst>
            <pc:docMk/>
            <pc:sldMk cId="1328989449" sldId="2147048333"/>
            <ac:spMk id="3" creationId="{3E26D34A-7A7A-AA82-A967-E492EEBF7F6C}"/>
          </ac:spMkLst>
        </pc:spChg>
        <pc:spChg chg="add mod">
          <ac:chgData name="Isaac Odiase" userId="7169b8fa-f376-4067-a9ab-01f95b3f87f4" providerId="ADAL" clId="{4097C4A9-4437-496A-A46D-F8E0A9330F4F}" dt="2023-11-06T17:44:42.162" v="485" actId="1036"/>
          <ac:spMkLst>
            <pc:docMk/>
            <pc:sldMk cId="1328989449" sldId="2147048333"/>
            <ac:spMk id="4" creationId="{E0270847-2296-B902-DE69-4A6EAB608393}"/>
          </ac:spMkLst>
        </pc:spChg>
        <pc:spChg chg="mod">
          <ac:chgData name="Isaac Odiase" userId="7169b8fa-f376-4067-a9ab-01f95b3f87f4" providerId="ADAL" clId="{4097C4A9-4437-496A-A46D-F8E0A9330F4F}" dt="2023-11-06T17:43:58.323" v="465"/>
          <ac:spMkLst>
            <pc:docMk/>
            <pc:sldMk cId="1328989449" sldId="2147048333"/>
            <ac:spMk id="6" creationId="{E255F938-684A-274B-140A-A33DB830FCDF}"/>
          </ac:spMkLst>
        </pc:spChg>
        <pc:spChg chg="mod">
          <ac:chgData name="Isaac Odiase" userId="7169b8fa-f376-4067-a9ab-01f95b3f87f4" providerId="ADAL" clId="{4097C4A9-4437-496A-A46D-F8E0A9330F4F}" dt="2023-11-06T17:43:58.323" v="465"/>
          <ac:spMkLst>
            <pc:docMk/>
            <pc:sldMk cId="1328989449" sldId="2147048333"/>
            <ac:spMk id="7" creationId="{F8925BA0-50ED-3CC9-7337-BC3293B1FC6D}"/>
          </ac:spMkLst>
        </pc:spChg>
        <pc:spChg chg="mod">
          <ac:chgData name="Isaac Odiase" userId="7169b8fa-f376-4067-a9ab-01f95b3f87f4" providerId="ADAL" clId="{4097C4A9-4437-496A-A46D-F8E0A9330F4F}" dt="2023-11-06T17:43:58.323" v="465"/>
          <ac:spMkLst>
            <pc:docMk/>
            <pc:sldMk cId="1328989449" sldId="2147048333"/>
            <ac:spMk id="8" creationId="{C7DF0E7D-2870-2931-F5A3-5A430298335B}"/>
          </ac:spMkLst>
        </pc:spChg>
        <pc:spChg chg="mod">
          <ac:chgData name="Isaac Odiase" userId="7169b8fa-f376-4067-a9ab-01f95b3f87f4" providerId="ADAL" clId="{4097C4A9-4437-496A-A46D-F8E0A9330F4F}" dt="2023-11-06T17:43:58.323" v="465"/>
          <ac:spMkLst>
            <pc:docMk/>
            <pc:sldMk cId="1328989449" sldId="2147048333"/>
            <ac:spMk id="10" creationId="{8DD79176-0F06-A19D-5B1A-4C0BE476EE30}"/>
          </ac:spMkLst>
        </pc:spChg>
        <pc:spChg chg="mod">
          <ac:chgData name="Isaac Odiase" userId="7169b8fa-f376-4067-a9ab-01f95b3f87f4" providerId="ADAL" clId="{4097C4A9-4437-496A-A46D-F8E0A9330F4F}" dt="2023-11-06T17:43:58.323" v="465"/>
          <ac:spMkLst>
            <pc:docMk/>
            <pc:sldMk cId="1328989449" sldId="2147048333"/>
            <ac:spMk id="11" creationId="{BCF08CF7-867E-A336-566D-A12CDF52347B}"/>
          </ac:spMkLst>
        </pc:spChg>
        <pc:spChg chg="mod">
          <ac:chgData name="Isaac Odiase" userId="7169b8fa-f376-4067-a9ab-01f95b3f87f4" providerId="ADAL" clId="{4097C4A9-4437-496A-A46D-F8E0A9330F4F}" dt="2023-11-06T17:43:58.323" v="465"/>
          <ac:spMkLst>
            <pc:docMk/>
            <pc:sldMk cId="1328989449" sldId="2147048333"/>
            <ac:spMk id="12" creationId="{89C9F779-F8AA-399A-0527-4FE3A88F5042}"/>
          </ac:spMkLst>
        </pc:spChg>
        <pc:spChg chg="add mod">
          <ac:chgData name="Isaac Odiase" userId="7169b8fa-f376-4067-a9ab-01f95b3f87f4" providerId="ADAL" clId="{4097C4A9-4437-496A-A46D-F8E0A9330F4F}" dt="2023-11-06T17:44:42.162" v="485" actId="1036"/>
          <ac:spMkLst>
            <pc:docMk/>
            <pc:sldMk cId="1328989449" sldId="2147048333"/>
            <ac:spMk id="13" creationId="{DA141086-96E9-5D86-D7D5-1F2D19AB1D0A}"/>
          </ac:spMkLst>
        </pc:spChg>
        <pc:spChg chg="add mod">
          <ac:chgData name="Isaac Odiase" userId="7169b8fa-f376-4067-a9ab-01f95b3f87f4" providerId="ADAL" clId="{4097C4A9-4437-496A-A46D-F8E0A9330F4F}" dt="2023-11-06T17:44:42.162" v="485" actId="1036"/>
          <ac:spMkLst>
            <pc:docMk/>
            <pc:sldMk cId="1328989449" sldId="2147048333"/>
            <ac:spMk id="14" creationId="{AF4E4953-A29B-5E93-6439-A7D525719A91}"/>
          </ac:spMkLst>
        </pc:spChg>
        <pc:spChg chg="add mod">
          <ac:chgData name="Isaac Odiase" userId="7169b8fa-f376-4067-a9ab-01f95b3f87f4" providerId="ADAL" clId="{4097C4A9-4437-496A-A46D-F8E0A9330F4F}" dt="2023-11-06T17:44:42.162" v="485" actId="1036"/>
          <ac:spMkLst>
            <pc:docMk/>
            <pc:sldMk cId="1328989449" sldId="2147048333"/>
            <ac:spMk id="15" creationId="{A66680B4-D49B-BA7D-26BD-1133870D94B1}"/>
          </ac:spMkLst>
        </pc:spChg>
        <pc:spChg chg="add mod">
          <ac:chgData name="Isaac Odiase" userId="7169b8fa-f376-4067-a9ab-01f95b3f87f4" providerId="ADAL" clId="{4097C4A9-4437-496A-A46D-F8E0A9330F4F}" dt="2023-11-06T17:44:42.162" v="485" actId="1036"/>
          <ac:spMkLst>
            <pc:docMk/>
            <pc:sldMk cId="1328989449" sldId="2147048333"/>
            <ac:spMk id="16" creationId="{E5A06F3C-8682-CB06-B673-0634946FB52C}"/>
          </ac:spMkLst>
        </pc:spChg>
        <pc:spChg chg="add mod">
          <ac:chgData name="Isaac Odiase" userId="7169b8fa-f376-4067-a9ab-01f95b3f87f4" providerId="ADAL" clId="{4097C4A9-4437-496A-A46D-F8E0A9330F4F}" dt="2023-11-06T17:44:42.162" v="485" actId="1036"/>
          <ac:spMkLst>
            <pc:docMk/>
            <pc:sldMk cId="1328989449" sldId="2147048333"/>
            <ac:spMk id="17" creationId="{865A81F1-931A-37DE-ED5B-EF067ECE1BE7}"/>
          </ac:spMkLst>
        </pc:spChg>
        <pc:spChg chg="add mod">
          <ac:chgData name="Isaac Odiase" userId="7169b8fa-f376-4067-a9ab-01f95b3f87f4" providerId="ADAL" clId="{4097C4A9-4437-496A-A46D-F8E0A9330F4F}" dt="2023-11-06T17:44:42.162" v="485" actId="1036"/>
          <ac:spMkLst>
            <pc:docMk/>
            <pc:sldMk cId="1328989449" sldId="2147048333"/>
            <ac:spMk id="19" creationId="{06D2C3D7-FDA2-3539-5D43-A222EC57C821}"/>
          </ac:spMkLst>
        </pc:spChg>
        <pc:spChg chg="add mod">
          <ac:chgData name="Isaac Odiase" userId="7169b8fa-f376-4067-a9ab-01f95b3f87f4" providerId="ADAL" clId="{4097C4A9-4437-496A-A46D-F8E0A9330F4F}" dt="2023-11-06T17:44:42.162" v="485" actId="1036"/>
          <ac:spMkLst>
            <pc:docMk/>
            <pc:sldMk cId="1328989449" sldId="2147048333"/>
            <ac:spMk id="21" creationId="{342009AB-3EBE-5502-29FB-F1D86108ABE9}"/>
          </ac:spMkLst>
        </pc:spChg>
        <pc:spChg chg="add mod">
          <ac:chgData name="Isaac Odiase" userId="7169b8fa-f376-4067-a9ab-01f95b3f87f4" providerId="ADAL" clId="{4097C4A9-4437-496A-A46D-F8E0A9330F4F}" dt="2023-11-06T17:44:42.162" v="485" actId="1036"/>
          <ac:spMkLst>
            <pc:docMk/>
            <pc:sldMk cId="1328989449" sldId="2147048333"/>
            <ac:spMk id="23" creationId="{563ABD2B-E50A-17F3-6C9A-EC5408593D6C}"/>
          </ac:spMkLst>
        </pc:spChg>
        <pc:spChg chg="add mod">
          <ac:chgData name="Isaac Odiase" userId="7169b8fa-f376-4067-a9ab-01f95b3f87f4" providerId="ADAL" clId="{4097C4A9-4437-496A-A46D-F8E0A9330F4F}" dt="2023-11-06T17:44:42.162" v="485" actId="1036"/>
          <ac:spMkLst>
            <pc:docMk/>
            <pc:sldMk cId="1328989449" sldId="2147048333"/>
            <ac:spMk id="25" creationId="{D3688632-EA5D-BD78-4663-F436C41C0D71}"/>
          </ac:spMkLst>
        </pc:spChg>
        <pc:grpChg chg="add mod">
          <ac:chgData name="Isaac Odiase" userId="7169b8fa-f376-4067-a9ab-01f95b3f87f4" providerId="ADAL" clId="{4097C4A9-4437-496A-A46D-F8E0A9330F4F}" dt="2023-11-06T17:44:42.162" v="485" actId="1036"/>
          <ac:grpSpMkLst>
            <pc:docMk/>
            <pc:sldMk cId="1328989449" sldId="2147048333"/>
            <ac:grpSpMk id="5" creationId="{16362BCA-D1F3-12C5-3A08-0E24CE445D3B}"/>
          </ac:grpSpMkLst>
        </pc:grpChg>
        <pc:picChg chg="mod">
          <ac:chgData name="Isaac Odiase" userId="7169b8fa-f376-4067-a9ab-01f95b3f87f4" providerId="ADAL" clId="{4097C4A9-4437-496A-A46D-F8E0A9330F4F}" dt="2023-11-06T17:43:58.323" v="465"/>
          <ac:picMkLst>
            <pc:docMk/>
            <pc:sldMk cId="1328989449" sldId="2147048333"/>
            <ac:picMk id="9" creationId="{10B6CDB3-0576-9AF6-BDE3-AE53861375B4}"/>
          </ac:picMkLst>
        </pc:picChg>
        <pc:picChg chg="add mod">
          <ac:chgData name="Isaac Odiase" userId="7169b8fa-f376-4067-a9ab-01f95b3f87f4" providerId="ADAL" clId="{4097C4A9-4437-496A-A46D-F8E0A9330F4F}" dt="2023-11-06T17:44:42.162" v="485" actId="1036"/>
          <ac:picMkLst>
            <pc:docMk/>
            <pc:sldMk cId="1328989449" sldId="2147048333"/>
            <ac:picMk id="18" creationId="{D6BB673D-9446-16F1-5651-4F604E7299C7}"/>
          </ac:picMkLst>
        </pc:picChg>
        <pc:picChg chg="add mod">
          <ac:chgData name="Isaac Odiase" userId="7169b8fa-f376-4067-a9ab-01f95b3f87f4" providerId="ADAL" clId="{4097C4A9-4437-496A-A46D-F8E0A9330F4F}" dt="2023-11-06T17:44:42.162" v="485" actId="1036"/>
          <ac:picMkLst>
            <pc:docMk/>
            <pc:sldMk cId="1328989449" sldId="2147048333"/>
            <ac:picMk id="20" creationId="{2F744294-593D-0174-0058-94119FA4330A}"/>
          </ac:picMkLst>
        </pc:picChg>
        <pc:picChg chg="add mod">
          <ac:chgData name="Isaac Odiase" userId="7169b8fa-f376-4067-a9ab-01f95b3f87f4" providerId="ADAL" clId="{4097C4A9-4437-496A-A46D-F8E0A9330F4F}" dt="2023-11-06T17:44:42.162" v="485" actId="1036"/>
          <ac:picMkLst>
            <pc:docMk/>
            <pc:sldMk cId="1328989449" sldId="2147048333"/>
            <ac:picMk id="22" creationId="{D6D655C4-8BEA-B887-796F-5C37E8CE1B7B}"/>
          </ac:picMkLst>
        </pc:picChg>
        <pc:picChg chg="add mod">
          <ac:chgData name="Isaac Odiase" userId="7169b8fa-f376-4067-a9ab-01f95b3f87f4" providerId="ADAL" clId="{4097C4A9-4437-496A-A46D-F8E0A9330F4F}" dt="2023-11-06T17:44:42.162" v="485" actId="1036"/>
          <ac:picMkLst>
            <pc:docMk/>
            <pc:sldMk cId="1328989449" sldId="2147048333"/>
            <ac:picMk id="24" creationId="{09A1E7B9-3177-C4BC-0734-D59B29CFA578}"/>
          </ac:picMkLst>
        </pc:picChg>
        <pc:picChg chg="add mod">
          <ac:chgData name="Isaac Odiase" userId="7169b8fa-f376-4067-a9ab-01f95b3f87f4" providerId="ADAL" clId="{4097C4A9-4437-496A-A46D-F8E0A9330F4F}" dt="2023-11-06T17:44:42.162" v="485" actId="1036"/>
          <ac:picMkLst>
            <pc:docMk/>
            <pc:sldMk cId="1328989449" sldId="2147048333"/>
            <ac:picMk id="26" creationId="{0A6539FB-8A26-B899-E6AE-7C0D301DB3CE}"/>
          </ac:picMkLst>
        </pc:picChg>
      </pc:sldChg>
      <pc:sldChg chg="addSp modSp new mod modAnim">
        <pc:chgData name="Isaac Odiase" userId="7169b8fa-f376-4067-a9ab-01f95b3f87f4" providerId="ADAL" clId="{4097C4A9-4437-496A-A46D-F8E0A9330F4F}" dt="2023-11-06T17:46:05.204" v="548" actId="1038"/>
        <pc:sldMkLst>
          <pc:docMk/>
          <pc:sldMk cId="2788662445" sldId="2147048334"/>
        </pc:sldMkLst>
        <pc:spChg chg="mod">
          <ac:chgData name="Isaac Odiase" userId="7169b8fa-f376-4067-a9ab-01f95b3f87f4" providerId="ADAL" clId="{4097C4A9-4437-496A-A46D-F8E0A9330F4F}" dt="2023-11-06T17:45:46.572" v="544" actId="403"/>
          <ac:spMkLst>
            <pc:docMk/>
            <pc:sldMk cId="2788662445" sldId="2147048334"/>
            <ac:spMk id="2" creationId="{D80BEF66-7354-DB94-BB56-2154E5BDB6DD}"/>
          </ac:spMkLst>
        </pc:spChg>
        <pc:spChg chg="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3" creationId="{FD5AC8C6-935E-3EDA-FB53-1B46BD2795D6}"/>
          </ac:spMkLst>
        </pc:spChg>
        <pc:spChg chg="mod">
          <ac:chgData name="Isaac Odiase" userId="7169b8fa-f376-4067-a9ab-01f95b3f87f4" providerId="ADAL" clId="{4097C4A9-4437-496A-A46D-F8E0A9330F4F}" dt="2023-11-06T17:45:29.822" v="524"/>
          <ac:spMkLst>
            <pc:docMk/>
            <pc:sldMk cId="2788662445" sldId="2147048334"/>
            <ac:spMk id="6" creationId="{9F27424F-A74B-9C41-FDB7-E93AEE8FC6F5}"/>
          </ac:spMkLst>
        </pc:spChg>
        <pc:spChg chg="mod">
          <ac:chgData name="Isaac Odiase" userId="7169b8fa-f376-4067-a9ab-01f95b3f87f4" providerId="ADAL" clId="{4097C4A9-4437-496A-A46D-F8E0A9330F4F}" dt="2023-11-06T17:45:29.822" v="524"/>
          <ac:spMkLst>
            <pc:docMk/>
            <pc:sldMk cId="2788662445" sldId="2147048334"/>
            <ac:spMk id="7" creationId="{048D6E18-42AF-9580-B781-72193F1F738B}"/>
          </ac:spMkLst>
        </pc:spChg>
        <pc:spChg chg="mod">
          <ac:chgData name="Isaac Odiase" userId="7169b8fa-f376-4067-a9ab-01f95b3f87f4" providerId="ADAL" clId="{4097C4A9-4437-496A-A46D-F8E0A9330F4F}" dt="2023-11-06T17:45:29.822" v="524"/>
          <ac:spMkLst>
            <pc:docMk/>
            <pc:sldMk cId="2788662445" sldId="2147048334"/>
            <ac:spMk id="8" creationId="{A71FCAE3-78C7-C62D-44B8-68FDBACEA619}"/>
          </ac:spMkLst>
        </pc:spChg>
        <pc:spChg chg="mod">
          <ac:chgData name="Isaac Odiase" userId="7169b8fa-f376-4067-a9ab-01f95b3f87f4" providerId="ADAL" clId="{4097C4A9-4437-496A-A46D-F8E0A9330F4F}" dt="2023-11-06T17:45:29.822" v="524"/>
          <ac:spMkLst>
            <pc:docMk/>
            <pc:sldMk cId="2788662445" sldId="2147048334"/>
            <ac:spMk id="10" creationId="{DFED00A8-9482-55C2-78D2-04CF1254568D}"/>
          </ac:spMkLst>
        </pc:spChg>
        <pc:spChg chg="mod">
          <ac:chgData name="Isaac Odiase" userId="7169b8fa-f376-4067-a9ab-01f95b3f87f4" providerId="ADAL" clId="{4097C4A9-4437-496A-A46D-F8E0A9330F4F}" dt="2023-11-06T17:45:29.822" v="524"/>
          <ac:spMkLst>
            <pc:docMk/>
            <pc:sldMk cId="2788662445" sldId="2147048334"/>
            <ac:spMk id="11" creationId="{BA5CBB70-DE79-7510-F1BE-F8237986E832}"/>
          </ac:spMkLst>
        </pc:spChg>
        <pc:spChg chg="mod">
          <ac:chgData name="Isaac Odiase" userId="7169b8fa-f376-4067-a9ab-01f95b3f87f4" providerId="ADAL" clId="{4097C4A9-4437-496A-A46D-F8E0A9330F4F}" dt="2023-11-06T17:45:29.822" v="524"/>
          <ac:spMkLst>
            <pc:docMk/>
            <pc:sldMk cId="2788662445" sldId="2147048334"/>
            <ac:spMk id="12" creationId="{064A1490-A2F8-C633-F0A3-AAAB89F8CF0B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13" creationId="{D57B62F2-A648-2298-FC26-B47F3FBAE47F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15" creationId="{1438A81C-B90E-30D9-F334-05570D7F48DF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18" creationId="{313EE307-22A3-1C03-B2D5-A69231E97BA3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19" creationId="{1A5EE26A-4163-489D-5B5F-3ACFCCCC2531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20" creationId="{2C5F9266-BEC1-F780-EAFB-C6AED6142951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21" creationId="{2CC2068E-9BC7-9B99-205F-3A98C8E5C2E2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22" creationId="{95C241FE-E11A-DD3E-A65B-204D13DD1F13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30" creationId="{38673D72-FA88-05CB-6C14-86738BDE231D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31" creationId="{846F0F62-D739-97BB-F4FD-A7DBDC720E82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32" creationId="{AAC7AF70-4A1C-6F7F-A65B-4AD766F56984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33" creationId="{BD25373F-ADA3-BDD4-082F-53BBB50B338F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34" creationId="{DF6DB32C-F5D4-1F56-6339-F59DB31BE906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35" creationId="{59AFA1B5-AC4E-50FC-B77A-261DD2AC0570}"/>
          </ac:spMkLst>
        </pc:spChg>
        <pc:spChg chg="add mod">
          <ac:chgData name="Isaac Odiase" userId="7169b8fa-f376-4067-a9ab-01f95b3f87f4" providerId="ADAL" clId="{4097C4A9-4437-496A-A46D-F8E0A9330F4F}" dt="2023-11-06T17:46:05.204" v="548" actId="1038"/>
          <ac:spMkLst>
            <pc:docMk/>
            <pc:sldMk cId="2788662445" sldId="2147048334"/>
            <ac:spMk id="36" creationId="{9AE4367D-CB94-A4EE-6031-A084000BD162}"/>
          </ac:spMkLst>
        </pc:spChg>
        <pc:grpChg chg="add mod">
          <ac:chgData name="Isaac Odiase" userId="7169b8fa-f376-4067-a9ab-01f95b3f87f4" providerId="ADAL" clId="{4097C4A9-4437-496A-A46D-F8E0A9330F4F}" dt="2023-11-06T17:46:05.204" v="548" actId="1038"/>
          <ac:grpSpMkLst>
            <pc:docMk/>
            <pc:sldMk cId="2788662445" sldId="2147048334"/>
            <ac:grpSpMk id="5" creationId="{E7C5EC1C-C071-DF89-CE8C-5E3CC2EA081F}"/>
          </ac:grpSpMkLst>
        </pc:grpChg>
        <pc:picChg chg="add mod">
          <ac:chgData name="Isaac Odiase" userId="7169b8fa-f376-4067-a9ab-01f95b3f87f4" providerId="ADAL" clId="{4097C4A9-4437-496A-A46D-F8E0A9330F4F}" dt="2023-11-06T17:46:05.204" v="548" actId="1038"/>
          <ac:picMkLst>
            <pc:docMk/>
            <pc:sldMk cId="2788662445" sldId="2147048334"/>
            <ac:picMk id="4" creationId="{E8483CE4-1A9A-1BB0-8F34-7BF7C29966E1}"/>
          </ac:picMkLst>
        </pc:picChg>
        <pc:picChg chg="mod">
          <ac:chgData name="Isaac Odiase" userId="7169b8fa-f376-4067-a9ab-01f95b3f87f4" providerId="ADAL" clId="{4097C4A9-4437-496A-A46D-F8E0A9330F4F}" dt="2023-11-06T17:45:29.822" v="524"/>
          <ac:picMkLst>
            <pc:docMk/>
            <pc:sldMk cId="2788662445" sldId="2147048334"/>
            <ac:picMk id="9" creationId="{D27F015F-DBC8-184A-518C-A8037D2CFDE2}"/>
          </ac:picMkLst>
        </pc:picChg>
        <pc:picChg chg="add mod">
          <ac:chgData name="Isaac Odiase" userId="7169b8fa-f376-4067-a9ab-01f95b3f87f4" providerId="ADAL" clId="{4097C4A9-4437-496A-A46D-F8E0A9330F4F}" dt="2023-11-06T17:46:05.204" v="548" actId="1038"/>
          <ac:picMkLst>
            <pc:docMk/>
            <pc:sldMk cId="2788662445" sldId="2147048334"/>
            <ac:picMk id="14" creationId="{385B34B7-779E-DA5D-32D6-0991E402D75D}"/>
          </ac:picMkLst>
        </pc:picChg>
        <pc:picChg chg="add mod">
          <ac:chgData name="Isaac Odiase" userId="7169b8fa-f376-4067-a9ab-01f95b3f87f4" providerId="ADAL" clId="{4097C4A9-4437-496A-A46D-F8E0A9330F4F}" dt="2023-11-06T17:46:05.204" v="548" actId="1038"/>
          <ac:picMkLst>
            <pc:docMk/>
            <pc:sldMk cId="2788662445" sldId="2147048334"/>
            <ac:picMk id="16" creationId="{A0901647-7604-8DE5-ED9E-D2FE3BE4208A}"/>
          </ac:picMkLst>
        </pc:picChg>
        <pc:picChg chg="add mod">
          <ac:chgData name="Isaac Odiase" userId="7169b8fa-f376-4067-a9ab-01f95b3f87f4" providerId="ADAL" clId="{4097C4A9-4437-496A-A46D-F8E0A9330F4F}" dt="2023-11-06T17:46:05.204" v="548" actId="1038"/>
          <ac:picMkLst>
            <pc:docMk/>
            <pc:sldMk cId="2788662445" sldId="2147048334"/>
            <ac:picMk id="17" creationId="{3AF97E16-53C7-87AC-5B6A-921DE15C9B05}"/>
          </ac:picMkLst>
        </pc:picChg>
        <pc:picChg chg="add mod">
          <ac:chgData name="Isaac Odiase" userId="7169b8fa-f376-4067-a9ab-01f95b3f87f4" providerId="ADAL" clId="{4097C4A9-4437-496A-A46D-F8E0A9330F4F}" dt="2023-11-06T17:46:05.204" v="548" actId="1038"/>
          <ac:picMkLst>
            <pc:docMk/>
            <pc:sldMk cId="2788662445" sldId="2147048334"/>
            <ac:picMk id="23" creationId="{052C8E14-5D67-C072-CA56-D46AEFE1B0C8}"/>
          </ac:picMkLst>
        </pc:picChg>
        <pc:picChg chg="add mod">
          <ac:chgData name="Isaac Odiase" userId="7169b8fa-f376-4067-a9ab-01f95b3f87f4" providerId="ADAL" clId="{4097C4A9-4437-496A-A46D-F8E0A9330F4F}" dt="2023-11-06T17:46:05.204" v="548" actId="1038"/>
          <ac:picMkLst>
            <pc:docMk/>
            <pc:sldMk cId="2788662445" sldId="2147048334"/>
            <ac:picMk id="24" creationId="{8537B647-5DA3-7386-DE72-773E093303DC}"/>
          </ac:picMkLst>
        </pc:picChg>
        <pc:picChg chg="add mod">
          <ac:chgData name="Isaac Odiase" userId="7169b8fa-f376-4067-a9ab-01f95b3f87f4" providerId="ADAL" clId="{4097C4A9-4437-496A-A46D-F8E0A9330F4F}" dt="2023-11-06T17:46:05.204" v="548" actId="1038"/>
          <ac:picMkLst>
            <pc:docMk/>
            <pc:sldMk cId="2788662445" sldId="2147048334"/>
            <ac:picMk id="25" creationId="{0A6D7071-A8F2-3775-668C-B0745DE2C790}"/>
          </ac:picMkLst>
        </pc:picChg>
        <pc:picChg chg="add mod">
          <ac:chgData name="Isaac Odiase" userId="7169b8fa-f376-4067-a9ab-01f95b3f87f4" providerId="ADAL" clId="{4097C4A9-4437-496A-A46D-F8E0A9330F4F}" dt="2023-11-06T17:46:05.204" v="548" actId="1038"/>
          <ac:picMkLst>
            <pc:docMk/>
            <pc:sldMk cId="2788662445" sldId="2147048334"/>
            <ac:picMk id="26" creationId="{17322E50-B77F-2E2A-9ADC-48D32E404B19}"/>
          </ac:picMkLst>
        </pc:picChg>
        <pc:picChg chg="add mod">
          <ac:chgData name="Isaac Odiase" userId="7169b8fa-f376-4067-a9ab-01f95b3f87f4" providerId="ADAL" clId="{4097C4A9-4437-496A-A46D-F8E0A9330F4F}" dt="2023-11-06T17:46:05.204" v="548" actId="1038"/>
          <ac:picMkLst>
            <pc:docMk/>
            <pc:sldMk cId="2788662445" sldId="2147048334"/>
            <ac:picMk id="27" creationId="{F5B00F7E-7F30-9EE4-29F7-FBFDAE6BF705}"/>
          </ac:picMkLst>
        </pc:picChg>
        <pc:picChg chg="add mod">
          <ac:chgData name="Isaac Odiase" userId="7169b8fa-f376-4067-a9ab-01f95b3f87f4" providerId="ADAL" clId="{4097C4A9-4437-496A-A46D-F8E0A9330F4F}" dt="2023-11-06T17:46:05.204" v="548" actId="1038"/>
          <ac:picMkLst>
            <pc:docMk/>
            <pc:sldMk cId="2788662445" sldId="2147048334"/>
            <ac:picMk id="28" creationId="{D9AFA69C-55B2-99D8-93B7-6980EC64BF45}"/>
          </ac:picMkLst>
        </pc:picChg>
        <pc:picChg chg="add mod">
          <ac:chgData name="Isaac Odiase" userId="7169b8fa-f376-4067-a9ab-01f95b3f87f4" providerId="ADAL" clId="{4097C4A9-4437-496A-A46D-F8E0A9330F4F}" dt="2023-11-06T17:46:05.204" v="548" actId="1038"/>
          <ac:picMkLst>
            <pc:docMk/>
            <pc:sldMk cId="2788662445" sldId="2147048334"/>
            <ac:picMk id="29" creationId="{C1933174-EF8F-74B9-4985-5F5CC0D84CF1}"/>
          </ac:picMkLst>
        </pc:picChg>
      </pc:sldChg>
      <pc:sldChg chg="addSp delSp modSp new del mod">
        <pc:chgData name="Isaac Odiase" userId="7169b8fa-f376-4067-a9ab-01f95b3f87f4" providerId="ADAL" clId="{4097C4A9-4437-496A-A46D-F8E0A9330F4F}" dt="2023-11-06T17:49:40.781" v="644" actId="2696"/>
        <pc:sldMkLst>
          <pc:docMk/>
          <pc:sldMk cId="4244275243" sldId="2147048335"/>
        </pc:sldMkLst>
        <pc:spChg chg="mod">
          <ac:chgData name="Isaac Odiase" userId="7169b8fa-f376-4067-a9ab-01f95b3f87f4" providerId="ADAL" clId="{4097C4A9-4437-496A-A46D-F8E0A9330F4F}" dt="2023-11-06T17:47:45.322" v="633" actId="20577"/>
          <ac:spMkLst>
            <pc:docMk/>
            <pc:sldMk cId="4244275243" sldId="2147048335"/>
            <ac:spMk id="2" creationId="{BE58F71B-1E2E-950E-7C4E-233E9F6034EA}"/>
          </ac:spMkLst>
        </pc:spChg>
        <pc:spChg chg="del">
          <ac:chgData name="Isaac Odiase" userId="7169b8fa-f376-4067-a9ab-01f95b3f87f4" providerId="ADAL" clId="{4097C4A9-4437-496A-A46D-F8E0A9330F4F}" dt="2023-11-06T17:47:53.662" v="634"/>
          <ac:spMkLst>
            <pc:docMk/>
            <pc:sldMk cId="4244275243" sldId="2147048335"/>
            <ac:spMk id="3" creationId="{5F519E05-D0DF-0587-BFC3-3456C6F034B1}"/>
          </ac:spMkLst>
        </pc:spChg>
        <pc:spChg chg="del">
          <ac:chgData name="Isaac Odiase" userId="7169b8fa-f376-4067-a9ab-01f95b3f87f4" providerId="ADAL" clId="{4097C4A9-4437-496A-A46D-F8E0A9330F4F}" dt="2023-11-06T17:48:02.507" v="636"/>
          <ac:spMkLst>
            <pc:docMk/>
            <pc:sldMk cId="4244275243" sldId="2147048335"/>
            <ac:spMk id="4" creationId="{8FC75551-7DC2-1A6F-37D5-DEA7A6D5F240}"/>
          </ac:spMkLst>
        </pc:spChg>
        <pc:spChg chg="add mod">
          <ac:chgData name="Isaac Odiase" userId="7169b8fa-f376-4067-a9ab-01f95b3f87f4" providerId="ADAL" clId="{4097C4A9-4437-496A-A46D-F8E0A9330F4F}" dt="2023-11-06T17:47:53.709" v="635" actId="27636"/>
          <ac:spMkLst>
            <pc:docMk/>
            <pc:sldMk cId="4244275243" sldId="2147048335"/>
            <ac:spMk id="5" creationId="{89507494-A134-2745-1306-623678625065}"/>
          </ac:spMkLst>
        </pc:spChg>
        <pc:picChg chg="add mod">
          <ac:chgData name="Isaac Odiase" userId="7169b8fa-f376-4067-a9ab-01f95b3f87f4" providerId="ADAL" clId="{4097C4A9-4437-496A-A46D-F8E0A9330F4F}" dt="2023-11-06T17:48:02.507" v="636"/>
          <ac:picMkLst>
            <pc:docMk/>
            <pc:sldMk cId="4244275243" sldId="2147048335"/>
            <ac:picMk id="6" creationId="{B90B6C45-02EA-4DCD-04BB-E24FF18D6AB4}"/>
          </ac:picMkLst>
        </pc:picChg>
      </pc:sldChg>
      <pc:sldChg chg="addSp modSp new mod">
        <pc:chgData name="Isaac Odiase" userId="7169b8fa-f376-4067-a9ab-01f95b3f87f4" providerId="ADAL" clId="{4097C4A9-4437-496A-A46D-F8E0A9330F4F}" dt="2023-11-06T17:49:46.801" v="650" actId="403"/>
        <pc:sldMkLst>
          <pc:docMk/>
          <pc:sldMk cId="475036201" sldId="2147048336"/>
        </pc:sldMkLst>
        <pc:spChg chg="mod">
          <ac:chgData name="Isaac Odiase" userId="7169b8fa-f376-4067-a9ab-01f95b3f87f4" providerId="ADAL" clId="{4097C4A9-4437-496A-A46D-F8E0A9330F4F}" dt="2023-11-06T17:49:46.801" v="650" actId="403"/>
          <ac:spMkLst>
            <pc:docMk/>
            <pc:sldMk cId="475036201" sldId="2147048336"/>
            <ac:spMk id="2" creationId="{D5AA88F4-AD52-0BF7-761A-0384703DB3CB}"/>
          </ac:spMkLst>
        </pc:spChg>
        <pc:spChg chg="add mod">
          <ac:chgData name="Isaac Odiase" userId="7169b8fa-f376-4067-a9ab-01f95b3f87f4" providerId="ADAL" clId="{4097C4A9-4437-496A-A46D-F8E0A9330F4F}" dt="2023-11-06T17:49:19.151" v="642"/>
          <ac:spMkLst>
            <pc:docMk/>
            <pc:sldMk cId="475036201" sldId="2147048336"/>
            <ac:spMk id="3" creationId="{4992CF8A-4D95-1F01-857A-35AB811EEDCC}"/>
          </ac:spMkLst>
        </pc:spChg>
        <pc:picChg chg="add mod">
          <ac:chgData name="Isaac Odiase" userId="7169b8fa-f376-4067-a9ab-01f95b3f87f4" providerId="ADAL" clId="{4097C4A9-4437-496A-A46D-F8E0A9330F4F}" dt="2023-11-06T17:49:19.151" v="642"/>
          <ac:picMkLst>
            <pc:docMk/>
            <pc:sldMk cId="475036201" sldId="2147048336"/>
            <ac:picMk id="4" creationId="{41FA825F-6B84-7D40-ED1E-BA4D7FA83FA9}"/>
          </ac:picMkLst>
        </pc:picChg>
      </pc:sldChg>
      <pc:sldChg chg="addSp delSp modSp new del">
        <pc:chgData name="Isaac Odiase" userId="7169b8fa-f376-4067-a9ab-01f95b3f87f4" providerId="ADAL" clId="{4097C4A9-4437-496A-A46D-F8E0A9330F4F}" dt="2023-11-06T17:48:47.101" v="639" actId="2696"/>
        <pc:sldMkLst>
          <pc:docMk/>
          <pc:sldMk cId="2941798838" sldId="2147048336"/>
        </pc:sldMkLst>
        <pc:spChg chg="del">
          <ac:chgData name="Isaac Odiase" userId="7169b8fa-f376-4067-a9ab-01f95b3f87f4" providerId="ADAL" clId="{4097C4A9-4437-496A-A46D-F8E0A9330F4F}" dt="2023-11-06T17:48:28.852" v="638"/>
          <ac:spMkLst>
            <pc:docMk/>
            <pc:sldMk cId="2941798838" sldId="2147048336"/>
            <ac:spMk id="4" creationId="{3C1FFB4B-699A-C6C2-2FCE-F010C14F20CD}"/>
          </ac:spMkLst>
        </pc:spChg>
        <pc:picChg chg="add mod">
          <ac:chgData name="Isaac Odiase" userId="7169b8fa-f376-4067-a9ab-01f95b3f87f4" providerId="ADAL" clId="{4097C4A9-4437-496A-A46D-F8E0A9330F4F}" dt="2023-11-06T17:48:28.852" v="638"/>
          <ac:picMkLst>
            <pc:docMk/>
            <pc:sldMk cId="2941798838" sldId="2147048336"/>
            <ac:picMk id="5" creationId="{A018EF4A-46F7-1AE5-B47D-C60AEF21A775}"/>
          </ac:picMkLst>
        </pc:picChg>
      </pc:sldChg>
      <pc:sldChg chg="modSp new mod">
        <pc:chgData name="Isaac Odiase" userId="7169b8fa-f376-4067-a9ab-01f95b3f87f4" providerId="ADAL" clId="{4097C4A9-4437-496A-A46D-F8E0A9330F4F}" dt="2023-11-06T17:50:13.081" v="652"/>
        <pc:sldMkLst>
          <pc:docMk/>
          <pc:sldMk cId="285896856" sldId="2147048337"/>
        </pc:sldMkLst>
        <pc:spChg chg="mod">
          <ac:chgData name="Isaac Odiase" userId="7169b8fa-f376-4067-a9ab-01f95b3f87f4" providerId="ADAL" clId="{4097C4A9-4437-496A-A46D-F8E0A9330F4F}" dt="2023-11-06T17:50:13.081" v="652"/>
          <ac:spMkLst>
            <pc:docMk/>
            <pc:sldMk cId="285896856" sldId="2147048337"/>
            <ac:spMk id="2" creationId="{386A23C2-8B95-8FEE-32CF-C492B7D52FBB}"/>
          </ac:spMkLst>
        </pc:spChg>
      </pc:sldChg>
      <pc:sldChg chg="addSp modSp new del mod">
        <pc:chgData name="Isaac Odiase" userId="7169b8fa-f376-4067-a9ab-01f95b3f87f4" providerId="ADAL" clId="{4097C4A9-4437-496A-A46D-F8E0A9330F4F}" dt="2023-11-06T17:53:05.330" v="792" actId="2696"/>
        <pc:sldMkLst>
          <pc:docMk/>
          <pc:sldMk cId="2435216079" sldId="2147048338"/>
        </pc:sldMkLst>
        <pc:spChg chg="mod">
          <ac:chgData name="Isaac Odiase" userId="7169b8fa-f376-4067-a9ab-01f95b3f87f4" providerId="ADAL" clId="{4097C4A9-4437-496A-A46D-F8E0A9330F4F}" dt="2023-11-06T17:51:40.571" v="768" actId="404"/>
          <ac:spMkLst>
            <pc:docMk/>
            <pc:sldMk cId="2435216079" sldId="2147048338"/>
            <ac:spMk id="2" creationId="{986558F7-CCAB-6E20-60C6-CD8B7F48D455}"/>
          </ac:spMkLst>
        </pc:spChg>
        <pc:graphicFrameChg chg="add mod modGraphic">
          <ac:chgData name="Isaac Odiase" userId="7169b8fa-f376-4067-a9ab-01f95b3f87f4" providerId="ADAL" clId="{4097C4A9-4437-496A-A46D-F8E0A9330F4F}" dt="2023-11-06T17:52:23.741" v="781" actId="14100"/>
          <ac:graphicFrameMkLst>
            <pc:docMk/>
            <pc:sldMk cId="2435216079" sldId="2147048338"/>
            <ac:graphicFrameMk id="3" creationId="{88F760BE-B16B-288B-A71F-5C4893732627}"/>
          </ac:graphicFrameMkLst>
        </pc:graphicFrameChg>
      </pc:sldChg>
      <pc:sldChg chg="addSp modSp new mod">
        <pc:chgData name="Isaac Odiase" userId="7169b8fa-f376-4067-a9ab-01f95b3f87f4" providerId="ADAL" clId="{4097C4A9-4437-496A-A46D-F8E0A9330F4F}" dt="2023-11-06T17:52:57.441" v="790" actId="404"/>
        <pc:sldMkLst>
          <pc:docMk/>
          <pc:sldMk cId="642811483" sldId="2147048339"/>
        </pc:sldMkLst>
        <pc:spChg chg="mod">
          <ac:chgData name="Isaac Odiase" userId="7169b8fa-f376-4067-a9ab-01f95b3f87f4" providerId="ADAL" clId="{4097C4A9-4437-496A-A46D-F8E0A9330F4F}" dt="2023-11-06T17:52:57.441" v="790" actId="404"/>
          <ac:spMkLst>
            <pc:docMk/>
            <pc:sldMk cId="642811483" sldId="2147048339"/>
            <ac:spMk id="2" creationId="{8902E70C-4488-8399-A233-4E832B024A38}"/>
          </ac:spMkLst>
        </pc:spChg>
        <pc:graphicFrameChg chg="add mod">
          <ac:chgData name="Isaac Odiase" userId="7169b8fa-f376-4067-a9ab-01f95b3f87f4" providerId="ADAL" clId="{4097C4A9-4437-496A-A46D-F8E0A9330F4F}" dt="2023-11-06T17:52:33.905" v="783" actId="1076"/>
          <ac:graphicFrameMkLst>
            <pc:docMk/>
            <pc:sldMk cId="642811483" sldId="2147048339"/>
            <ac:graphicFrameMk id="4" creationId="{D9D6C681-B715-3B57-B496-E588A5B5A545}"/>
          </ac:graphicFrameMkLst>
        </pc:graphicFrameChg>
      </pc:sldChg>
      <pc:sldChg chg="addSp modSp new mod modNotesTx">
        <pc:chgData name="Isaac Odiase" userId="7169b8fa-f376-4067-a9ab-01f95b3f87f4" providerId="ADAL" clId="{4097C4A9-4437-496A-A46D-F8E0A9330F4F}" dt="2023-11-09T16:55:47.819" v="1728" actId="6549"/>
        <pc:sldMkLst>
          <pc:docMk/>
          <pc:sldMk cId="1017211285" sldId="2147048340"/>
        </pc:sldMkLst>
        <pc:spChg chg="mod">
          <ac:chgData name="Isaac Odiase" userId="7169b8fa-f376-4067-a9ab-01f95b3f87f4" providerId="ADAL" clId="{4097C4A9-4437-496A-A46D-F8E0A9330F4F}" dt="2023-11-06T17:53:56.590" v="827" actId="403"/>
          <ac:spMkLst>
            <pc:docMk/>
            <pc:sldMk cId="1017211285" sldId="2147048340"/>
            <ac:spMk id="2" creationId="{5CA184B7-FDC3-34C1-78D1-585465A486B9}"/>
          </ac:spMkLst>
        </pc:spChg>
        <pc:picChg chg="add mod">
          <ac:chgData name="Isaac Odiase" userId="7169b8fa-f376-4067-a9ab-01f95b3f87f4" providerId="ADAL" clId="{4097C4A9-4437-496A-A46D-F8E0A9330F4F}" dt="2023-11-06T17:53:36.525" v="798" actId="962"/>
          <ac:picMkLst>
            <pc:docMk/>
            <pc:sldMk cId="1017211285" sldId="2147048340"/>
            <ac:picMk id="4" creationId="{F4FC4086-119D-B700-2EBB-F0E328E39775}"/>
          </ac:picMkLst>
        </pc:picChg>
      </pc:sldChg>
      <pc:sldChg chg="modSp new del mod">
        <pc:chgData name="Isaac Odiase" userId="7169b8fa-f376-4067-a9ab-01f95b3f87f4" providerId="ADAL" clId="{4097C4A9-4437-496A-A46D-F8E0A9330F4F}" dt="2023-11-06T17:56:05.210" v="916" actId="2696"/>
        <pc:sldMkLst>
          <pc:docMk/>
          <pc:sldMk cId="54027373" sldId="2147048341"/>
        </pc:sldMkLst>
        <pc:spChg chg="mod">
          <ac:chgData name="Isaac Odiase" userId="7169b8fa-f376-4067-a9ab-01f95b3f87f4" providerId="ADAL" clId="{4097C4A9-4437-496A-A46D-F8E0A9330F4F}" dt="2023-11-06T17:54:32.110" v="845" actId="20577"/>
          <ac:spMkLst>
            <pc:docMk/>
            <pc:sldMk cId="54027373" sldId="2147048341"/>
            <ac:spMk id="2" creationId="{19A74F6C-F443-3CB8-204E-A6CA1BCA5CBC}"/>
          </ac:spMkLst>
        </pc:spChg>
      </pc:sldChg>
      <pc:sldChg chg="addSp modSp new mod">
        <pc:chgData name="Isaac Odiase" userId="7169b8fa-f376-4067-a9ab-01f95b3f87f4" providerId="ADAL" clId="{4097C4A9-4437-496A-A46D-F8E0A9330F4F}" dt="2023-11-06T17:55:47.670" v="914" actId="403"/>
        <pc:sldMkLst>
          <pc:docMk/>
          <pc:sldMk cId="994228148" sldId="2147048342"/>
        </pc:sldMkLst>
        <pc:spChg chg="mod">
          <ac:chgData name="Isaac Odiase" userId="7169b8fa-f376-4067-a9ab-01f95b3f87f4" providerId="ADAL" clId="{4097C4A9-4437-496A-A46D-F8E0A9330F4F}" dt="2023-11-06T17:55:47.670" v="914" actId="403"/>
          <ac:spMkLst>
            <pc:docMk/>
            <pc:sldMk cId="994228148" sldId="2147048342"/>
            <ac:spMk id="2" creationId="{4E086583-0851-15E5-671B-178829CA266B}"/>
          </ac:spMkLst>
        </pc:spChg>
        <pc:picChg chg="add mod">
          <ac:chgData name="Isaac Odiase" userId="7169b8fa-f376-4067-a9ab-01f95b3f87f4" providerId="ADAL" clId="{4097C4A9-4437-496A-A46D-F8E0A9330F4F}" dt="2023-11-06T17:55:13.340" v="850" actId="14100"/>
          <ac:picMkLst>
            <pc:docMk/>
            <pc:sldMk cId="994228148" sldId="2147048342"/>
            <ac:picMk id="3" creationId="{41EF263E-76A0-476D-49F4-C288A5A280E5}"/>
          </ac:picMkLst>
        </pc:picChg>
      </pc:sldChg>
      <pc:sldChg chg="addSp delSp modSp new mod delAnim modAnim">
        <pc:chgData name="Isaac Odiase" userId="7169b8fa-f376-4067-a9ab-01f95b3f87f4" providerId="ADAL" clId="{4097C4A9-4437-496A-A46D-F8E0A9330F4F}" dt="2023-11-09T17:04:15.606" v="1748" actId="1076"/>
        <pc:sldMkLst>
          <pc:docMk/>
          <pc:sldMk cId="3561947160" sldId="2147048343"/>
        </pc:sldMkLst>
        <pc:spChg chg="mod">
          <ac:chgData name="Isaac Odiase" userId="7169b8fa-f376-4067-a9ab-01f95b3f87f4" providerId="ADAL" clId="{4097C4A9-4437-496A-A46D-F8E0A9330F4F}" dt="2023-11-06T17:57:58.770" v="964" actId="555"/>
          <ac:spMkLst>
            <pc:docMk/>
            <pc:sldMk cId="3561947160" sldId="2147048343"/>
            <ac:spMk id="2" creationId="{CB1C0522-0DA6-69AA-DEA1-F0F30A58B3F5}"/>
          </ac:spMkLst>
        </pc:spChg>
        <pc:spChg chg="add mod">
          <ac:chgData name="Isaac Odiase" userId="7169b8fa-f376-4067-a9ab-01f95b3f87f4" providerId="ADAL" clId="{4097C4A9-4437-496A-A46D-F8E0A9330F4F}" dt="2023-11-09T17:04:15.606" v="1748" actId="1076"/>
          <ac:spMkLst>
            <pc:docMk/>
            <pc:sldMk cId="3561947160" sldId="2147048343"/>
            <ac:spMk id="6" creationId="{739D1E5A-6EC2-F4CE-5A1A-6887CCC11586}"/>
          </ac:spMkLst>
        </pc:spChg>
        <pc:picChg chg="add del mod">
          <ac:chgData name="Isaac Odiase" userId="7169b8fa-f376-4067-a9ab-01f95b3f87f4" providerId="ADAL" clId="{4097C4A9-4437-496A-A46D-F8E0A9330F4F}" dt="2023-11-09T17:01:23.655" v="1732" actId="478"/>
          <ac:picMkLst>
            <pc:docMk/>
            <pc:sldMk cId="3561947160" sldId="2147048343"/>
            <ac:picMk id="3" creationId="{2C3ECBC0-4C64-3529-4231-DC2D5B175AEF}"/>
          </ac:picMkLst>
        </pc:picChg>
        <pc:picChg chg="add mod">
          <ac:chgData name="Isaac Odiase" userId="7169b8fa-f376-4067-a9ab-01f95b3f87f4" providerId="ADAL" clId="{4097C4A9-4437-496A-A46D-F8E0A9330F4F}" dt="2023-11-06T17:57:58.770" v="964" actId="555"/>
          <ac:picMkLst>
            <pc:docMk/>
            <pc:sldMk cId="3561947160" sldId="2147048343"/>
            <ac:picMk id="4" creationId="{96B9E633-39C9-42A6-E299-D7439EA0B1A3}"/>
          </ac:picMkLst>
        </pc:picChg>
      </pc:sldChg>
      <pc:sldChg chg="addSp delSp modSp add del mod delAnim modAnim">
        <pc:chgData name="Isaac Odiase" userId="7169b8fa-f376-4067-a9ab-01f95b3f87f4" providerId="ADAL" clId="{4097C4A9-4437-496A-A46D-F8E0A9330F4F}" dt="2023-11-09T17:04:05.095" v="1747" actId="2696"/>
        <pc:sldMkLst>
          <pc:docMk/>
          <pc:sldMk cId="3371065729" sldId="2147048344"/>
        </pc:sldMkLst>
        <pc:spChg chg="mod">
          <ac:chgData name="Isaac Odiase" userId="7169b8fa-f376-4067-a9ab-01f95b3f87f4" providerId="ADAL" clId="{4097C4A9-4437-496A-A46D-F8E0A9330F4F}" dt="2023-11-06T17:58:28.990" v="979" actId="20577"/>
          <ac:spMkLst>
            <pc:docMk/>
            <pc:sldMk cId="3371065729" sldId="2147048344"/>
            <ac:spMk id="2" creationId="{CB1C0522-0DA6-69AA-DEA1-F0F30A58B3F5}"/>
          </ac:spMkLst>
        </pc:spChg>
        <pc:picChg chg="del">
          <ac:chgData name="Isaac Odiase" userId="7169b8fa-f376-4067-a9ab-01f95b3f87f4" providerId="ADAL" clId="{4097C4A9-4437-496A-A46D-F8E0A9330F4F}" dt="2023-11-06T17:58:35.277" v="980" actId="478"/>
          <ac:picMkLst>
            <pc:docMk/>
            <pc:sldMk cId="3371065729" sldId="2147048344"/>
            <ac:picMk id="3" creationId="{2C3ECBC0-4C64-3529-4231-DC2D5B175AEF}"/>
          </ac:picMkLst>
        </pc:picChg>
        <pc:picChg chg="add mod">
          <ac:chgData name="Isaac Odiase" userId="7169b8fa-f376-4067-a9ab-01f95b3f87f4" providerId="ADAL" clId="{4097C4A9-4437-496A-A46D-F8E0A9330F4F}" dt="2023-11-06T17:59:21.344" v="1018" actId="1037"/>
          <ac:picMkLst>
            <pc:docMk/>
            <pc:sldMk cId="3371065729" sldId="2147048344"/>
            <ac:picMk id="5" creationId="{BD290228-897A-03C9-C142-181D9B6F256B}"/>
          </ac:picMkLst>
        </pc:picChg>
      </pc:sldChg>
      <pc:sldChg chg="modSp new mod">
        <pc:chgData name="Isaac Odiase" userId="7169b8fa-f376-4067-a9ab-01f95b3f87f4" providerId="ADAL" clId="{4097C4A9-4437-496A-A46D-F8E0A9330F4F}" dt="2023-11-07T14:06:32.823" v="1131" actId="12"/>
        <pc:sldMkLst>
          <pc:docMk/>
          <pc:sldMk cId="1798811799" sldId="2147048345"/>
        </pc:sldMkLst>
        <pc:spChg chg="mod">
          <ac:chgData name="Isaac Odiase" userId="7169b8fa-f376-4067-a9ab-01f95b3f87f4" providerId="ADAL" clId="{4097C4A9-4437-496A-A46D-F8E0A9330F4F}" dt="2023-11-06T18:00:11.307" v="1040" actId="403"/>
          <ac:spMkLst>
            <pc:docMk/>
            <pc:sldMk cId="1798811799" sldId="2147048345"/>
            <ac:spMk id="2" creationId="{09130CA2-3AF1-7DB7-2644-E624553CE116}"/>
          </ac:spMkLst>
        </pc:spChg>
        <pc:spChg chg="mod">
          <ac:chgData name="Isaac Odiase" userId="7169b8fa-f376-4067-a9ab-01f95b3f87f4" providerId="ADAL" clId="{4097C4A9-4437-496A-A46D-F8E0A9330F4F}" dt="2023-11-07T14:06:32.823" v="1131" actId="12"/>
          <ac:spMkLst>
            <pc:docMk/>
            <pc:sldMk cId="1798811799" sldId="2147048345"/>
            <ac:spMk id="3" creationId="{9AD7B56B-9BBC-7408-F8D5-818EEC217A74}"/>
          </ac:spMkLst>
        </pc:spChg>
      </pc:sldChg>
      <pc:sldChg chg="modSp new del mod">
        <pc:chgData name="Isaac Odiase" userId="7169b8fa-f376-4067-a9ab-01f95b3f87f4" providerId="ADAL" clId="{4097C4A9-4437-496A-A46D-F8E0A9330F4F}" dt="2023-11-06T18:01:16.550" v="1044" actId="2696"/>
        <pc:sldMkLst>
          <pc:docMk/>
          <pc:sldMk cId="3159415758" sldId="2147048346"/>
        </pc:sldMkLst>
        <pc:spChg chg="mod">
          <ac:chgData name="Isaac Odiase" userId="7169b8fa-f376-4067-a9ab-01f95b3f87f4" providerId="ADAL" clId="{4097C4A9-4437-496A-A46D-F8E0A9330F4F}" dt="2023-11-06T18:00:52.359" v="1043"/>
          <ac:spMkLst>
            <pc:docMk/>
            <pc:sldMk cId="3159415758" sldId="2147048346"/>
            <ac:spMk id="2" creationId="{E27D79EE-D7CF-6568-CC63-248D18C41FDE}"/>
          </ac:spMkLst>
        </pc:spChg>
      </pc:sldChg>
      <pc:sldChg chg="addSp delSp modSp new mod">
        <pc:chgData name="Isaac Odiase" userId="7169b8fa-f376-4067-a9ab-01f95b3f87f4" providerId="ADAL" clId="{4097C4A9-4437-496A-A46D-F8E0A9330F4F}" dt="2023-11-07T14:53:42.690" v="1417" actId="1076"/>
        <pc:sldMkLst>
          <pc:docMk/>
          <pc:sldMk cId="3246241879" sldId="2147048346"/>
        </pc:sldMkLst>
        <pc:spChg chg="mod">
          <ac:chgData name="Isaac Odiase" userId="7169b8fa-f376-4067-a9ab-01f95b3f87f4" providerId="ADAL" clId="{4097C4A9-4437-496A-A46D-F8E0A9330F4F}" dt="2023-11-06T18:03:44.058" v="1107" actId="20577"/>
          <ac:spMkLst>
            <pc:docMk/>
            <pc:sldMk cId="3246241879" sldId="2147048346"/>
            <ac:spMk id="2" creationId="{43817711-2905-CC24-415A-0FEF15695CB6}"/>
          </ac:spMkLst>
        </pc:spChg>
        <pc:spChg chg="mod">
          <ac:chgData name="Isaac Odiase" userId="7169b8fa-f376-4067-a9ab-01f95b3f87f4" providerId="ADAL" clId="{4097C4A9-4437-496A-A46D-F8E0A9330F4F}" dt="2023-11-07T14:53:42.690" v="1417" actId="1076"/>
          <ac:spMkLst>
            <pc:docMk/>
            <pc:sldMk cId="3246241879" sldId="2147048346"/>
            <ac:spMk id="4" creationId="{933A3200-E20E-C3EB-1E6C-9EE7057D804A}"/>
          </ac:spMkLst>
        </pc:spChg>
        <pc:spChg chg="add del mod">
          <ac:chgData name="Isaac Odiase" userId="7169b8fa-f376-4067-a9ab-01f95b3f87f4" providerId="ADAL" clId="{4097C4A9-4437-496A-A46D-F8E0A9330F4F}" dt="2023-11-06T18:03:03.268" v="1059" actId="478"/>
          <ac:spMkLst>
            <pc:docMk/>
            <pc:sldMk cId="3246241879" sldId="2147048346"/>
            <ac:spMk id="5" creationId="{89C92C15-D703-EA44-4110-E88FB241C50D}"/>
          </ac:spMkLst>
        </pc:spChg>
        <pc:spChg chg="add mod">
          <ac:chgData name="Isaac Odiase" userId="7169b8fa-f376-4067-a9ab-01f95b3f87f4" providerId="ADAL" clId="{4097C4A9-4437-496A-A46D-F8E0A9330F4F}" dt="2023-11-07T14:53:28.717" v="1415" actId="1076"/>
          <ac:spMkLst>
            <pc:docMk/>
            <pc:sldMk cId="3246241879" sldId="2147048346"/>
            <ac:spMk id="6" creationId="{2119ED8E-F856-16B2-253A-1CB01910198B}"/>
          </ac:spMkLst>
        </pc:spChg>
      </pc:sldChg>
      <pc:sldChg chg="add del">
        <pc:chgData name="Isaac Odiase" userId="7169b8fa-f376-4067-a9ab-01f95b3f87f4" providerId="ADAL" clId="{4097C4A9-4437-496A-A46D-F8E0A9330F4F}" dt="2023-11-09T17:04:36.176" v="1749" actId="2696"/>
        <pc:sldMkLst>
          <pc:docMk/>
          <pc:sldMk cId="987266370" sldId="2147048347"/>
        </pc:sldMkLst>
      </pc:sldChg>
      <pc:sldChg chg="new del">
        <pc:chgData name="Isaac Odiase" userId="7169b8fa-f376-4067-a9ab-01f95b3f87f4" providerId="ADAL" clId="{4097C4A9-4437-496A-A46D-F8E0A9330F4F}" dt="2023-11-07T15:10:12.478" v="1723" actId="2696"/>
        <pc:sldMkLst>
          <pc:docMk/>
          <pc:sldMk cId="1933299324" sldId="2147048347"/>
        </pc:sldMkLst>
      </pc:sldChg>
      <pc:sldMasterChg chg="delSldLayout">
        <pc:chgData name="Isaac Odiase" userId="7169b8fa-f376-4067-a9ab-01f95b3f87f4" providerId="ADAL" clId="{4097C4A9-4437-496A-A46D-F8E0A9330F4F}" dt="2023-11-06T17:53:05.330" v="792" actId="2696"/>
        <pc:sldMasterMkLst>
          <pc:docMk/>
          <pc:sldMasterMk cId="1603589549" sldId="2147483811"/>
        </pc:sldMasterMkLst>
        <pc:sldLayoutChg chg="del">
          <pc:chgData name="Isaac Odiase" userId="7169b8fa-f376-4067-a9ab-01f95b3f87f4" providerId="ADAL" clId="{4097C4A9-4437-496A-A46D-F8E0A9330F4F}" dt="2023-11-06T17:48:47.101" v="639" actId="2696"/>
          <pc:sldLayoutMkLst>
            <pc:docMk/>
            <pc:sldMasterMk cId="1603589549" sldId="2147483811"/>
            <pc:sldLayoutMk cId="1405663718" sldId="2147483826"/>
          </pc:sldLayoutMkLst>
        </pc:sldLayoutChg>
        <pc:sldLayoutChg chg="del">
          <pc:chgData name="Isaac Odiase" userId="7169b8fa-f376-4067-a9ab-01f95b3f87f4" providerId="ADAL" clId="{4097C4A9-4437-496A-A46D-F8E0A9330F4F}" dt="2023-11-06T17:49:40.781" v="644" actId="2696"/>
          <pc:sldLayoutMkLst>
            <pc:docMk/>
            <pc:sldMasterMk cId="1603589549" sldId="2147483811"/>
            <pc:sldLayoutMk cId="4190312778" sldId="2147483827"/>
          </pc:sldLayoutMkLst>
        </pc:sldLayoutChg>
        <pc:sldLayoutChg chg="del">
          <pc:chgData name="Isaac Odiase" userId="7169b8fa-f376-4067-a9ab-01f95b3f87f4" providerId="ADAL" clId="{4097C4A9-4437-496A-A46D-F8E0A9330F4F}" dt="2023-11-06T17:53:05.330" v="792" actId="2696"/>
          <pc:sldLayoutMkLst>
            <pc:docMk/>
            <pc:sldMasterMk cId="1603589549" sldId="2147483811"/>
            <pc:sldLayoutMk cId="1306244994" sldId="2147483832"/>
          </pc:sldLayoutMkLst>
        </pc:sldLayoutChg>
      </pc:sldMasterChg>
      <pc:sldMasterChg chg="del delSldLayout">
        <pc:chgData name="Isaac Odiase" userId="7169b8fa-f376-4067-a9ab-01f95b3f87f4" providerId="ADAL" clId="{4097C4A9-4437-496A-A46D-F8E0A9330F4F}" dt="2023-11-06T17:55:59.480" v="915" actId="2696"/>
        <pc:sldMasterMkLst>
          <pc:docMk/>
          <pc:sldMasterMk cId="3423721904" sldId="2147483870"/>
        </pc:sldMasterMkLst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1801337713" sldId="2147483871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580465360" sldId="2147483872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4115011580" sldId="2147483873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28361145" sldId="2147483874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4233844226" sldId="2147483875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2437055230" sldId="2147483876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803966544" sldId="2147483877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1390738726" sldId="2147483878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554745195" sldId="2147483879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1910510077" sldId="2147483880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708829271" sldId="2147483881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1651005946" sldId="2147483882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2357150772" sldId="2147483883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3708639693" sldId="2147483884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1358657106" sldId="2147483885"/>
          </pc:sldLayoutMkLst>
        </pc:sldLayoutChg>
        <pc:sldLayoutChg chg="del">
          <pc:chgData name="Isaac Odiase" userId="7169b8fa-f376-4067-a9ab-01f95b3f87f4" providerId="ADAL" clId="{4097C4A9-4437-496A-A46D-F8E0A9330F4F}" dt="2023-11-06T17:55:59.480" v="915" actId="2696"/>
          <pc:sldLayoutMkLst>
            <pc:docMk/>
            <pc:sldMasterMk cId="3423721904" sldId="2147483870"/>
            <pc:sldLayoutMk cId="2929529713" sldId="2147483886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9D3244-433A-4C12-B0D1-C50C7BF1B108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0441BF-3CD4-4C14-A330-30A78FD39F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2341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441BF-3CD4-4C14-A330-30A78FD39FA1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0223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441BF-3CD4-4C14-A330-30A78FD39FA1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66517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D310F6-1553-0B42-9D97-1194B94BC2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04052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441BF-3CD4-4C14-A330-30A78FD39FA1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42942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441BF-3CD4-4C14-A330-30A78FD39FA1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59187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441BF-3CD4-4C14-A330-30A78FD39FA1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77679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0441BF-3CD4-4C14-A330-30A78FD39FA1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3141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515936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515936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4836"/>
            <a:ext cx="607748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5955665-144D-F642-B7A8-9F19D43664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24" name="Date Placeholder 39">
            <a:extLst>
              <a:ext uri="{FF2B5EF4-FFF2-40B4-BE49-F238E27FC236}">
                <a16:creationId xmlns:a16="http://schemas.microsoft.com/office/drawing/2014/main" id="{866C7F25-BB19-B84F-BB91-34AB7A58EF3E}"/>
              </a:ext>
            </a:extLst>
          </p:cNvPr>
          <p:cNvSpPr txBox="1">
            <a:spLocks/>
          </p:cNvSpPr>
          <p:nvPr userDrawn="1"/>
        </p:nvSpPr>
        <p:spPr>
          <a:xfrm>
            <a:off x="839788" y="5990983"/>
            <a:ext cx="1339724" cy="21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D7F4D8B-2C60-204D-9B02-1DFCD1EE4145}" type="datetime1">
              <a:rPr lang="en-GB" sz="1600" smtClean="0"/>
              <a:t>09/11/2023</a:t>
            </a:fld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2081927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5" y="-1"/>
            <a:ext cx="1218839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93741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84267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39599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1"/>
            <a:ext cx="12191998" cy="685799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19854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66772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515936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515936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06948"/>
            <a:ext cx="607748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5955665-144D-F642-B7A8-9F19D43664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3834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6" y="-1"/>
            <a:ext cx="12188388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186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6" y="-1"/>
            <a:ext cx="12188388" cy="68579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2029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 - Insert ow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60CBDBE-653B-0E46-98D2-7967FA83715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insert </a:t>
            </a:r>
            <a:br>
              <a:rPr lang="en-US"/>
            </a:br>
            <a:r>
              <a:rPr lang="en-US"/>
              <a:t>backgroun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4ED97BF-6115-BD4B-993D-C8F2187EE7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4D073DA-84B7-4A42-88D8-9D284311B1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904F43E-0FCE-6A46-8B17-A97CDC41E5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B172ACA8-D828-6340-96A9-ABAB73B36A0D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5022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0FA3E58-5AC6-13B8-AD4E-01C1B60292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741DC-DF85-3048-BB35-B30D52CEE7DA}" type="datetime1">
              <a:rPr lang="en-GB" smtClean="0"/>
              <a:t>09/11/2023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8FBF21D-FC7B-BA1F-81A6-EA110D20D8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27813BF-DBB6-73D8-BD85-C37BDE19A2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|  </a:t>
            </a:r>
            <a:fld id="{A134C65A-A9BE-9F48-B07C-F2CA02A2F78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080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landscap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520826"/>
            <a:ext cx="5756397" cy="46380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70955" y="1520826"/>
            <a:ext cx="4762233" cy="3198813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264389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9" y="1520826"/>
            <a:ext cx="7569566" cy="46380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4720" y="1530774"/>
            <a:ext cx="2978468" cy="4638012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98313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35302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761F4-9ADD-E84A-84E1-2821D3FA3D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667385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4195467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D82230-362E-444A-BFE1-77023AC14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560098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772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428115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34139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4836"/>
            <a:ext cx="4902948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e Placeholder 39">
            <a:extLst>
              <a:ext uri="{FF2B5EF4-FFF2-40B4-BE49-F238E27FC236}">
                <a16:creationId xmlns:a16="http://schemas.microsoft.com/office/drawing/2014/main" id="{866C7F25-BB19-B84F-BB91-34AB7A58EF3E}"/>
              </a:ext>
            </a:extLst>
          </p:cNvPr>
          <p:cNvSpPr txBox="1">
            <a:spLocks/>
          </p:cNvSpPr>
          <p:nvPr userDrawn="1"/>
        </p:nvSpPr>
        <p:spPr>
          <a:xfrm>
            <a:off x="839788" y="5990983"/>
            <a:ext cx="1339724" cy="21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0AE0E71-E2E3-4A44-8360-1EDD7E4079BA}" type="datetime1">
              <a:rPr lang="en-GB" sz="1600" smtClean="0"/>
              <a:t>09/11/2023</a:t>
            </a:fld>
            <a:endParaRPr lang="en-US" sz="16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0B30D51-1C88-D84B-B986-A8AB4A7D69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0293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1804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073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5446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3947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806488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609416" cy="307777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86E8EE-4B91-B84E-ADB0-4C4AD2DE40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0157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9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9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3" name="Google Shape;53;p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402866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515936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515936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4836"/>
            <a:ext cx="607748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5955665-144D-F642-B7A8-9F19D43664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24" name="Date Placeholder 39">
            <a:extLst>
              <a:ext uri="{FF2B5EF4-FFF2-40B4-BE49-F238E27FC236}">
                <a16:creationId xmlns:a16="http://schemas.microsoft.com/office/drawing/2014/main" id="{866C7F25-BB19-B84F-BB91-34AB7A58EF3E}"/>
              </a:ext>
            </a:extLst>
          </p:cNvPr>
          <p:cNvSpPr txBox="1">
            <a:spLocks/>
          </p:cNvSpPr>
          <p:nvPr userDrawn="1"/>
        </p:nvSpPr>
        <p:spPr>
          <a:xfrm>
            <a:off x="839788" y="5990983"/>
            <a:ext cx="1339724" cy="21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D7F4D8B-2C60-204D-9B02-1DFCD1EE4145}" type="datetime1">
              <a:rPr lang="en-GB" sz="1600" smtClean="0"/>
              <a:t>09/11/2023</a:t>
            </a:fld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016843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428115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34139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4836"/>
            <a:ext cx="4902948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e Placeholder 39">
            <a:extLst>
              <a:ext uri="{FF2B5EF4-FFF2-40B4-BE49-F238E27FC236}">
                <a16:creationId xmlns:a16="http://schemas.microsoft.com/office/drawing/2014/main" id="{866C7F25-BB19-B84F-BB91-34AB7A58EF3E}"/>
              </a:ext>
            </a:extLst>
          </p:cNvPr>
          <p:cNvSpPr txBox="1">
            <a:spLocks/>
          </p:cNvSpPr>
          <p:nvPr userDrawn="1"/>
        </p:nvSpPr>
        <p:spPr>
          <a:xfrm>
            <a:off x="839788" y="5990983"/>
            <a:ext cx="1339724" cy="21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0AE0E71-E2E3-4A44-8360-1EDD7E4079BA}" type="datetime1">
              <a:rPr lang="en-GB" sz="1600" smtClean="0"/>
              <a:t>09/11/2023</a:t>
            </a:fld>
            <a:endParaRPr lang="en-US" sz="16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0B30D51-1C88-D84B-B986-A8AB4A7D69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3545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806488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609416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4836"/>
            <a:ext cx="5115786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e Placeholder 39">
            <a:extLst>
              <a:ext uri="{FF2B5EF4-FFF2-40B4-BE49-F238E27FC236}">
                <a16:creationId xmlns:a16="http://schemas.microsoft.com/office/drawing/2014/main" id="{866C7F25-BB19-B84F-BB91-34AB7A58EF3E}"/>
              </a:ext>
            </a:extLst>
          </p:cNvPr>
          <p:cNvSpPr txBox="1">
            <a:spLocks/>
          </p:cNvSpPr>
          <p:nvPr userDrawn="1"/>
        </p:nvSpPr>
        <p:spPr>
          <a:xfrm>
            <a:off x="839788" y="5990983"/>
            <a:ext cx="1339724" cy="21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B89675-1F3E-8A49-A7D5-14AF1E428D44}" type="datetime1">
              <a:rPr lang="en-GB" sz="1600" smtClean="0"/>
              <a:t>09/11/2023</a:t>
            </a:fld>
            <a:endParaRPr lang="en-US" sz="16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86E8EE-4B91-B84E-ADB0-4C4AD2DE40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9243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9752472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9810661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82819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2F5E4B93-92A2-AE4B-8FB5-D5357F295E92}" type="datetime1">
              <a:rPr lang="en-GB" smtClean="0"/>
              <a:t>09/11/2023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AAF761A-0D65-FF44-AFC3-73EC32F63A4E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9429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806488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609416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4836"/>
            <a:ext cx="5115786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e Placeholder 39">
            <a:extLst>
              <a:ext uri="{FF2B5EF4-FFF2-40B4-BE49-F238E27FC236}">
                <a16:creationId xmlns:a16="http://schemas.microsoft.com/office/drawing/2014/main" id="{866C7F25-BB19-B84F-BB91-34AB7A58EF3E}"/>
              </a:ext>
            </a:extLst>
          </p:cNvPr>
          <p:cNvSpPr txBox="1">
            <a:spLocks/>
          </p:cNvSpPr>
          <p:nvPr userDrawn="1"/>
        </p:nvSpPr>
        <p:spPr>
          <a:xfrm>
            <a:off x="839788" y="5990983"/>
            <a:ext cx="1339724" cy="21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B89675-1F3E-8A49-A7D5-14AF1E428D44}" type="datetime1">
              <a:rPr lang="en-GB" sz="1600" smtClean="0"/>
              <a:t>09/11/2023</a:t>
            </a:fld>
            <a:endParaRPr lang="en-US" sz="16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86E8EE-4B91-B84E-ADB0-4C4AD2DE40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8148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6" y="1"/>
            <a:ext cx="12188386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689357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381928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25090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09B8066E-8C2A-8A47-85CC-0B477FE4A559}" type="datetime1">
              <a:rPr lang="en-GB" smtClean="0"/>
              <a:t>09/11/2023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6272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689357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381928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25090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09B8066E-8C2A-8A47-85CC-0B477FE4A559}" type="datetime1">
              <a:rPr lang="en-GB" smtClean="0"/>
              <a:t>09/11/2023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C48384-EFB8-C847-B614-B51B78272A7F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09230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049743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44387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9804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049743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44387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101135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E39C396C-E9B4-F84D-A5A0-82A30B0D72CD}" type="datetime1">
              <a:rPr lang="en-GB" smtClean="0"/>
              <a:t>09/11/2023</a:t>
            </a:fld>
            <a:endParaRPr lang="en-US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4569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5" y="-1"/>
            <a:ext cx="12188390" cy="68580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5237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5" y="-1"/>
            <a:ext cx="1218839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6226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6" y="-1"/>
            <a:ext cx="12188388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414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6" y="-1"/>
            <a:ext cx="12188388" cy="68579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134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 - Insert ow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60CBDBE-653B-0E46-98D2-7967FA83715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insert </a:t>
            </a:r>
            <a:br>
              <a:rPr lang="en-US"/>
            </a:br>
            <a:r>
              <a:rPr lang="en-US"/>
              <a:t>backgroun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4ED97BF-6115-BD4B-993D-C8F2187EE7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4D073DA-84B7-4A42-88D8-9D284311B1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904F43E-0FCE-6A46-8B17-A97CDC41E5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B172ACA8-D828-6340-96A9-ABAB73B36A0D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8096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ull pa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667385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04636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9752472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9810661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82819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2F5E4B93-92A2-AE4B-8FB5-D5357F295E92}" type="datetime1">
              <a:rPr lang="en-GB" smtClean="0"/>
              <a:t>09/11/2023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AAF761A-0D65-FF44-AFC3-73EC32F63A4E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722070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landscap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520826"/>
            <a:ext cx="5756397" cy="46380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70955" y="1520826"/>
            <a:ext cx="4762233" cy="3198813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337234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9" y="1520826"/>
            <a:ext cx="7569566" cy="46380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4720" y="1530774"/>
            <a:ext cx="2978468" cy="4638012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432910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9499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761F4-9ADD-E84A-84E1-2821D3FA3D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667385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861302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D82230-362E-444A-BFE1-77023AC14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560098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7679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0330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9672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5056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1839450"/>
            <a:ext cx="9810660" cy="1589550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0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1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5768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806488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609416" cy="307777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86E8EE-4B91-B84E-ADB0-4C4AD2DE40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2669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6" y="1"/>
            <a:ext cx="12188386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689357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381928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25090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09B8066E-8C2A-8A47-85CC-0B477FE4A559}" type="datetime1">
              <a:rPr lang="en-GB" smtClean="0"/>
              <a:t>09/11/2023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F544B9-31AD-3D41-BB4A-D601B1976454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11296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9666" y="3142801"/>
            <a:ext cx="8938684" cy="2994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C4CD76-A7E9-475E-AC88-C494D4E9B5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667" y="1857376"/>
            <a:ext cx="8938684" cy="1133475"/>
          </a:xfrm>
        </p:spPr>
        <p:txBody>
          <a:bodyPr/>
          <a:lstStyle>
            <a:lvl1pPr>
              <a:defRPr sz="2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B1015A5-17C5-463D-AECD-8AD4D7D52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CF815DF-4C25-4EB2-85D2-8C59652631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1332001"/>
            <a:ext cx="8938684" cy="373425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4042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980">
          <p15:clr>
            <a:srgbClr val="FBAE40"/>
          </p15:clr>
        </p15:guide>
        <p15:guide id="2" pos="3387">
          <p15:clr>
            <a:srgbClr val="FBAE40"/>
          </p15:clr>
        </p15:guide>
        <p15:guide id="3" pos="608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>
  <p:cSld name="1_Title Slide 1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Google Shape;71;p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72" name="Google Shape;72;p16"/>
          <p:cNvSpPr txBox="1">
            <a:spLocks noGrp="1"/>
          </p:cNvSpPr>
          <p:nvPr>
            <p:ph type="ctrTitle"/>
          </p:nvPr>
        </p:nvSpPr>
        <p:spPr>
          <a:xfrm>
            <a:off x="839788" y="2473291"/>
            <a:ext cx="7516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 sz="32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16"/>
          <p:cNvSpPr txBox="1">
            <a:spLocks noGrp="1"/>
          </p:cNvSpPr>
          <p:nvPr>
            <p:ph type="subTitle" idx="1"/>
          </p:nvPr>
        </p:nvSpPr>
        <p:spPr>
          <a:xfrm>
            <a:off x="839789" y="5097989"/>
            <a:ext cx="7516000" cy="35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74" name="Google Shape;74;p16"/>
          <p:cNvSpPr txBox="1">
            <a:spLocks noGrp="1"/>
          </p:cNvSpPr>
          <p:nvPr>
            <p:ph type="body" idx="2"/>
          </p:nvPr>
        </p:nvSpPr>
        <p:spPr>
          <a:xfrm>
            <a:off x="2278237" y="6014836"/>
            <a:ext cx="60772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Font typeface="Calibri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Calibri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75" name="Google Shape;75;p16"/>
          <p:cNvCxnSpPr/>
          <p:nvPr/>
        </p:nvCxnSpPr>
        <p:spPr>
          <a:xfrm>
            <a:off x="2044847" y="5976000"/>
            <a:ext cx="0" cy="232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76" name="Google Shape;76;p1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9788" y="806208"/>
            <a:ext cx="2124920" cy="752184"/>
          </a:xfrm>
          <a:prstGeom prst="rect">
            <a:avLst/>
          </a:prstGeom>
          <a:noFill/>
          <a:ln>
            <a:noFill/>
          </a:ln>
        </p:spPr>
      </p:pic>
      <p:sp>
        <p:nvSpPr>
          <p:cNvPr id="77" name="Google Shape;77;p16"/>
          <p:cNvSpPr txBox="1"/>
          <p:nvPr/>
        </p:nvSpPr>
        <p:spPr>
          <a:xfrm>
            <a:off x="839788" y="5990983"/>
            <a:ext cx="1339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0/10/2021</a:t>
            </a:r>
            <a:endParaRPr sz="1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539347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page text" type="obj">
  <p:cSld name="Full page 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7"/>
          <p:cNvSpPr txBox="1">
            <a:spLocks noGrp="1"/>
          </p:cNvSpPr>
          <p:nvPr>
            <p:ph type="title"/>
          </p:nvPr>
        </p:nvSpPr>
        <p:spPr>
          <a:xfrm>
            <a:off x="839788" y="667385"/>
            <a:ext cx="8447200" cy="6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7"/>
          <p:cNvSpPr txBox="1">
            <a:spLocks noGrp="1"/>
          </p:cNvSpPr>
          <p:nvPr>
            <p:ph type="body" idx="1"/>
          </p:nvPr>
        </p:nvSpPr>
        <p:spPr>
          <a:xfrm>
            <a:off x="839788" y="1520825"/>
            <a:ext cx="10693600" cy="46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43178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•"/>
              <a:defRPr b="0"/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0639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Char char="•"/>
              <a:defRPr/>
            </a:lvl3pPr>
            <a:lvl4pPr marL="2438339" lvl="3" indent="-3979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Char char="•"/>
              <a:defRPr/>
            </a:lvl4pPr>
            <a:lvl5pPr marL="3047924" lvl="4" indent="-3979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7106395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2">
  <p:cSld name="1_Title Slide 2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Google Shape;82;p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83" name="Google Shape;83;p18"/>
          <p:cNvSpPr txBox="1">
            <a:spLocks noGrp="1"/>
          </p:cNvSpPr>
          <p:nvPr>
            <p:ph type="ctrTitle"/>
          </p:nvPr>
        </p:nvSpPr>
        <p:spPr>
          <a:xfrm>
            <a:off x="839788" y="2473291"/>
            <a:ext cx="6428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 sz="32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18"/>
          <p:cNvSpPr txBox="1">
            <a:spLocks noGrp="1"/>
          </p:cNvSpPr>
          <p:nvPr>
            <p:ph type="subTitle" idx="1"/>
          </p:nvPr>
        </p:nvSpPr>
        <p:spPr>
          <a:xfrm>
            <a:off x="839788" y="5097989"/>
            <a:ext cx="6341600" cy="35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85" name="Google Shape;85;p18"/>
          <p:cNvSpPr txBox="1">
            <a:spLocks noGrp="1"/>
          </p:cNvSpPr>
          <p:nvPr>
            <p:ph type="body" idx="2"/>
          </p:nvPr>
        </p:nvSpPr>
        <p:spPr>
          <a:xfrm>
            <a:off x="2278237" y="6014836"/>
            <a:ext cx="49028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Font typeface="Calibri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Calibri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86" name="Google Shape;86;p18"/>
          <p:cNvCxnSpPr/>
          <p:nvPr/>
        </p:nvCxnSpPr>
        <p:spPr>
          <a:xfrm>
            <a:off x="2044847" y="5976000"/>
            <a:ext cx="0" cy="232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" name="Google Shape;87;p18"/>
          <p:cNvSpPr txBox="1"/>
          <p:nvPr/>
        </p:nvSpPr>
        <p:spPr>
          <a:xfrm>
            <a:off x="839788" y="5990983"/>
            <a:ext cx="1339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0/10/2021</a:t>
            </a:r>
            <a:endParaRPr sz="1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8" name="Google Shape;88;p1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9788" y="806208"/>
            <a:ext cx="2124920" cy="7521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683066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3">
  <p:cSld name="1_Title Slide 3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Google Shape;90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Google Shape;91;p19"/>
          <p:cNvSpPr txBox="1">
            <a:spLocks noGrp="1"/>
          </p:cNvSpPr>
          <p:nvPr>
            <p:ph type="ctrTitle"/>
          </p:nvPr>
        </p:nvSpPr>
        <p:spPr>
          <a:xfrm>
            <a:off x="839788" y="2473291"/>
            <a:ext cx="68064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 sz="32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19"/>
          <p:cNvSpPr txBox="1">
            <a:spLocks noGrp="1"/>
          </p:cNvSpPr>
          <p:nvPr>
            <p:ph type="subTitle" idx="1"/>
          </p:nvPr>
        </p:nvSpPr>
        <p:spPr>
          <a:xfrm>
            <a:off x="839788" y="5097989"/>
            <a:ext cx="6609200" cy="35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93" name="Google Shape;93;p19"/>
          <p:cNvSpPr txBox="1">
            <a:spLocks noGrp="1"/>
          </p:cNvSpPr>
          <p:nvPr>
            <p:ph type="body" idx="2"/>
          </p:nvPr>
        </p:nvSpPr>
        <p:spPr>
          <a:xfrm>
            <a:off x="2278237" y="6014836"/>
            <a:ext cx="51160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Font typeface="Calibri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Calibri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cxnSp>
        <p:nvCxnSpPr>
          <p:cNvPr id="94" name="Google Shape;94;p19"/>
          <p:cNvCxnSpPr/>
          <p:nvPr/>
        </p:nvCxnSpPr>
        <p:spPr>
          <a:xfrm>
            <a:off x="2044847" y="5976000"/>
            <a:ext cx="0" cy="232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" name="Google Shape;95;p19"/>
          <p:cNvSpPr txBox="1"/>
          <p:nvPr/>
        </p:nvSpPr>
        <p:spPr>
          <a:xfrm>
            <a:off x="839788" y="5990983"/>
            <a:ext cx="1339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0/10/2021</a:t>
            </a:r>
            <a:endParaRPr sz="1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" name="Google Shape;96;p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9788" y="806208"/>
            <a:ext cx="2124920" cy="7521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256243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4">
  <p:cSld name="1_Title Slide 4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Google Shape;98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99" name="Google Shape;99;p20"/>
          <p:cNvSpPr txBox="1">
            <a:spLocks noGrp="1"/>
          </p:cNvSpPr>
          <p:nvPr>
            <p:ph type="ctrTitle"/>
          </p:nvPr>
        </p:nvSpPr>
        <p:spPr>
          <a:xfrm>
            <a:off x="839788" y="2473291"/>
            <a:ext cx="97524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 sz="32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20"/>
          <p:cNvSpPr txBox="1">
            <a:spLocks noGrp="1"/>
          </p:cNvSpPr>
          <p:nvPr>
            <p:ph type="subTitle" idx="1"/>
          </p:nvPr>
        </p:nvSpPr>
        <p:spPr>
          <a:xfrm>
            <a:off x="839788" y="5097989"/>
            <a:ext cx="9810800" cy="35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01" name="Google Shape;101;p20"/>
          <p:cNvSpPr txBox="1">
            <a:spLocks noGrp="1"/>
          </p:cNvSpPr>
          <p:nvPr>
            <p:ph type="body" idx="2"/>
          </p:nvPr>
        </p:nvSpPr>
        <p:spPr>
          <a:xfrm>
            <a:off x="2278237" y="6015328"/>
            <a:ext cx="82820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Font typeface="Calibri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Calibri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20"/>
          <p:cNvSpPr txBox="1">
            <a:spLocks noGrp="1"/>
          </p:cNvSpPr>
          <p:nvPr>
            <p:ph type="dt" idx="10"/>
          </p:nvPr>
        </p:nvSpPr>
        <p:spPr>
          <a:xfrm>
            <a:off x="839788" y="5990748"/>
            <a:ext cx="1339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600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103" name="Google Shape;103;p2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9788" y="806208"/>
            <a:ext cx="2124920" cy="75218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4" name="Google Shape;104;p20"/>
          <p:cNvCxnSpPr/>
          <p:nvPr/>
        </p:nvCxnSpPr>
        <p:spPr>
          <a:xfrm>
            <a:off x="2044847" y="5976000"/>
            <a:ext cx="0" cy="232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012495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5">
  <p:cSld name="1_Title Slide 5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" name="Google Shape;106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806" y="2"/>
            <a:ext cx="12188385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07" name="Google Shape;107;p21"/>
          <p:cNvSpPr txBox="1">
            <a:spLocks noGrp="1"/>
          </p:cNvSpPr>
          <p:nvPr>
            <p:ph type="ctrTitle"/>
          </p:nvPr>
        </p:nvSpPr>
        <p:spPr>
          <a:xfrm>
            <a:off x="839788" y="2473291"/>
            <a:ext cx="76892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32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1"/>
          <p:cNvSpPr txBox="1">
            <a:spLocks noGrp="1"/>
          </p:cNvSpPr>
          <p:nvPr>
            <p:ph type="subTitle" idx="1"/>
          </p:nvPr>
        </p:nvSpPr>
        <p:spPr>
          <a:xfrm>
            <a:off x="839789" y="5097989"/>
            <a:ext cx="7382000" cy="35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09" name="Google Shape;109;p21"/>
          <p:cNvSpPr txBox="1">
            <a:spLocks noGrp="1"/>
          </p:cNvSpPr>
          <p:nvPr>
            <p:ph type="body" idx="2"/>
          </p:nvPr>
        </p:nvSpPr>
        <p:spPr>
          <a:xfrm>
            <a:off x="2278237" y="6015328"/>
            <a:ext cx="62508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Font typeface="Calibri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Calibri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21"/>
          <p:cNvSpPr txBox="1">
            <a:spLocks noGrp="1"/>
          </p:cNvSpPr>
          <p:nvPr>
            <p:ph type="dt" idx="10"/>
          </p:nvPr>
        </p:nvSpPr>
        <p:spPr>
          <a:xfrm>
            <a:off x="839788" y="5990748"/>
            <a:ext cx="1339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600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111" name="Google Shape;111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9788" y="806208"/>
            <a:ext cx="2124920" cy="75218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12" name="Google Shape;112;p21"/>
          <p:cNvCxnSpPr/>
          <p:nvPr/>
        </p:nvCxnSpPr>
        <p:spPr>
          <a:xfrm>
            <a:off x="2044847" y="5976000"/>
            <a:ext cx="0" cy="232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5725733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 5">
  <p:cSld name="2_Title Slide 5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" name="Google Shape;114;p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15" name="Google Shape;115;p22"/>
          <p:cNvSpPr txBox="1">
            <a:spLocks noGrp="1"/>
          </p:cNvSpPr>
          <p:nvPr>
            <p:ph type="ctrTitle"/>
          </p:nvPr>
        </p:nvSpPr>
        <p:spPr>
          <a:xfrm>
            <a:off x="839788" y="2473291"/>
            <a:ext cx="76892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32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6" name="Google Shape;116;p22"/>
          <p:cNvSpPr txBox="1">
            <a:spLocks noGrp="1"/>
          </p:cNvSpPr>
          <p:nvPr>
            <p:ph type="subTitle" idx="1"/>
          </p:nvPr>
        </p:nvSpPr>
        <p:spPr>
          <a:xfrm>
            <a:off x="839789" y="5097989"/>
            <a:ext cx="7382000" cy="35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17" name="Google Shape;117;p22"/>
          <p:cNvSpPr txBox="1">
            <a:spLocks noGrp="1"/>
          </p:cNvSpPr>
          <p:nvPr>
            <p:ph type="body" idx="2"/>
          </p:nvPr>
        </p:nvSpPr>
        <p:spPr>
          <a:xfrm>
            <a:off x="2278237" y="6015328"/>
            <a:ext cx="62508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Font typeface="Calibri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Calibri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22"/>
          <p:cNvSpPr txBox="1">
            <a:spLocks noGrp="1"/>
          </p:cNvSpPr>
          <p:nvPr>
            <p:ph type="dt" idx="10"/>
          </p:nvPr>
        </p:nvSpPr>
        <p:spPr>
          <a:xfrm>
            <a:off x="839788" y="5990748"/>
            <a:ext cx="1339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600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pic>
        <p:nvPicPr>
          <p:cNvPr id="119" name="Google Shape;119;p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9788" y="806208"/>
            <a:ext cx="2124920" cy="75218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0" name="Google Shape;120;p22"/>
          <p:cNvCxnSpPr/>
          <p:nvPr/>
        </p:nvCxnSpPr>
        <p:spPr>
          <a:xfrm>
            <a:off x="2044847" y="5976000"/>
            <a:ext cx="0" cy="232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8892674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6">
  <p:cSld name="Title Slide 6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" name="Google Shape;122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23" name="Google Shape;123;p23"/>
          <p:cNvSpPr txBox="1">
            <a:spLocks noGrp="1"/>
          </p:cNvSpPr>
          <p:nvPr>
            <p:ph type="ctrTitle"/>
          </p:nvPr>
        </p:nvSpPr>
        <p:spPr>
          <a:xfrm>
            <a:off x="839788" y="2473291"/>
            <a:ext cx="60496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32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3"/>
          <p:cNvSpPr txBox="1">
            <a:spLocks noGrp="1"/>
          </p:cNvSpPr>
          <p:nvPr>
            <p:ph type="subTitle" idx="1"/>
          </p:nvPr>
        </p:nvSpPr>
        <p:spPr>
          <a:xfrm>
            <a:off x="839788" y="5097989"/>
            <a:ext cx="6444000" cy="35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25" name="Google Shape;125;p23"/>
          <p:cNvSpPr txBox="1">
            <a:spLocks noGrp="1"/>
          </p:cNvSpPr>
          <p:nvPr>
            <p:ph type="body" idx="2"/>
          </p:nvPr>
        </p:nvSpPr>
        <p:spPr>
          <a:xfrm>
            <a:off x="2278237" y="6015328"/>
            <a:ext cx="61012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Font typeface="Calibri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Calibri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6" name="Google Shape;126;p23"/>
          <p:cNvSpPr txBox="1">
            <a:spLocks noGrp="1"/>
          </p:cNvSpPr>
          <p:nvPr>
            <p:ph type="dt" idx="10"/>
          </p:nvPr>
        </p:nvSpPr>
        <p:spPr>
          <a:xfrm>
            <a:off x="839788" y="5990748"/>
            <a:ext cx="1339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600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27" name="Google Shape;127;p23"/>
          <p:cNvCxnSpPr/>
          <p:nvPr/>
        </p:nvCxnSpPr>
        <p:spPr>
          <a:xfrm>
            <a:off x="2044847" y="5976000"/>
            <a:ext cx="0" cy="232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28" name="Google Shape;128;p2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9788" y="806208"/>
            <a:ext cx="2124920" cy="7521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7303123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 6">
  <p:cSld name="2_Title Slide 6"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" name="Google Shape;130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1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Google Shape;131;p24"/>
          <p:cNvSpPr txBox="1">
            <a:spLocks noGrp="1"/>
          </p:cNvSpPr>
          <p:nvPr>
            <p:ph type="ctrTitle"/>
          </p:nvPr>
        </p:nvSpPr>
        <p:spPr>
          <a:xfrm>
            <a:off x="839788" y="2473291"/>
            <a:ext cx="60496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32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24"/>
          <p:cNvSpPr txBox="1">
            <a:spLocks noGrp="1"/>
          </p:cNvSpPr>
          <p:nvPr>
            <p:ph type="subTitle" idx="1"/>
          </p:nvPr>
        </p:nvSpPr>
        <p:spPr>
          <a:xfrm>
            <a:off x="839788" y="5097989"/>
            <a:ext cx="6444000" cy="35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33" name="Google Shape;133;p24"/>
          <p:cNvSpPr txBox="1">
            <a:spLocks noGrp="1"/>
          </p:cNvSpPr>
          <p:nvPr>
            <p:ph type="body" idx="2"/>
          </p:nvPr>
        </p:nvSpPr>
        <p:spPr>
          <a:xfrm>
            <a:off x="2278237" y="6015328"/>
            <a:ext cx="61012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Font typeface="Calibri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Calibri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34" name="Google Shape;134;p24"/>
          <p:cNvSpPr txBox="1">
            <a:spLocks noGrp="1"/>
          </p:cNvSpPr>
          <p:nvPr>
            <p:ph type="dt" idx="10"/>
          </p:nvPr>
        </p:nvSpPr>
        <p:spPr>
          <a:xfrm>
            <a:off x="839788" y="5990748"/>
            <a:ext cx="13396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600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cxnSp>
        <p:nvCxnSpPr>
          <p:cNvPr id="135" name="Google Shape;135;p24"/>
          <p:cNvCxnSpPr/>
          <p:nvPr/>
        </p:nvCxnSpPr>
        <p:spPr>
          <a:xfrm>
            <a:off x="2044847" y="5976000"/>
            <a:ext cx="0" cy="232000"/>
          </a:xfrm>
          <a:prstGeom prst="straightConnector1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36" name="Google Shape;136;p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9788" y="806208"/>
            <a:ext cx="2124920" cy="7521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81964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689357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381928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25090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09B8066E-8C2A-8A47-85CC-0B477FE4A559}" type="datetime1">
              <a:rPr lang="en-GB" smtClean="0"/>
              <a:t>09/11/2023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C48384-EFB8-C847-B614-B51B78272A7F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48915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6">
  <p:cSld name="1_Title Slide 6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8" name="Google Shape;138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806" y="-1"/>
            <a:ext cx="12188391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9" name="Google Shape;139;p2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9788" y="806208"/>
            <a:ext cx="2124920" cy="752184"/>
          </a:xfrm>
          <a:prstGeom prst="rect">
            <a:avLst/>
          </a:prstGeom>
          <a:noFill/>
          <a:ln>
            <a:noFill/>
          </a:ln>
        </p:spPr>
      </p:pic>
      <p:sp>
        <p:nvSpPr>
          <p:cNvPr id="140" name="Google Shape;140;p25"/>
          <p:cNvSpPr txBox="1">
            <a:spLocks noGrp="1"/>
          </p:cNvSpPr>
          <p:nvPr>
            <p:ph type="body" idx="1"/>
          </p:nvPr>
        </p:nvSpPr>
        <p:spPr>
          <a:xfrm>
            <a:off x="179388" y="195263"/>
            <a:ext cx="4910000" cy="6467600"/>
          </a:xfrm>
          <a:prstGeom prst="rect">
            <a:avLst/>
          </a:prstGeom>
          <a:gradFill>
            <a:gsLst>
              <a:gs pos="0">
                <a:srgbClr val="3CB28C">
                  <a:alpha val="89803"/>
                </a:srgbClr>
              </a:gs>
              <a:gs pos="100000">
                <a:srgbClr val="475DA7">
                  <a:alpha val="89803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/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1" name="Google Shape;141;p25"/>
          <p:cNvSpPr txBox="1">
            <a:spLocks noGrp="1"/>
          </p:cNvSpPr>
          <p:nvPr>
            <p:ph type="ctrTitle"/>
          </p:nvPr>
        </p:nvSpPr>
        <p:spPr>
          <a:xfrm>
            <a:off x="839788" y="2061148"/>
            <a:ext cx="3867200" cy="20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 sz="32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25"/>
          <p:cNvSpPr txBox="1">
            <a:spLocks noGrp="1"/>
          </p:cNvSpPr>
          <p:nvPr>
            <p:ph type="subTitle" idx="2"/>
          </p:nvPr>
        </p:nvSpPr>
        <p:spPr>
          <a:xfrm>
            <a:off x="839788" y="4345805"/>
            <a:ext cx="3867200" cy="77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43" name="Google Shape;143;p25"/>
          <p:cNvSpPr txBox="1">
            <a:spLocks noGrp="1"/>
          </p:cNvSpPr>
          <p:nvPr>
            <p:ph type="body" idx="3"/>
          </p:nvPr>
        </p:nvSpPr>
        <p:spPr>
          <a:xfrm>
            <a:off x="839788" y="5361060"/>
            <a:ext cx="39572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Font typeface="Calibri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Calibri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25"/>
          <p:cNvSpPr txBox="1">
            <a:spLocks noGrp="1"/>
          </p:cNvSpPr>
          <p:nvPr>
            <p:ph type="body" idx="4"/>
          </p:nvPr>
        </p:nvSpPr>
        <p:spPr>
          <a:xfrm>
            <a:off x="839787" y="806208"/>
            <a:ext cx="2124800" cy="752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/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5" name="Google Shape;145;p25"/>
          <p:cNvSpPr txBox="1">
            <a:spLocks noGrp="1"/>
          </p:cNvSpPr>
          <p:nvPr>
            <p:ph type="body" idx="5"/>
          </p:nvPr>
        </p:nvSpPr>
        <p:spPr>
          <a:xfrm>
            <a:off x="839788" y="5976319"/>
            <a:ext cx="16576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Calibri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696967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3_Title Slide 6">
  <p:cSld name="3_Title Slide 6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" name="Google Shape;147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806" y="-1"/>
            <a:ext cx="12188391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8" name="Google Shape;148;p2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9788" y="806208"/>
            <a:ext cx="2124920" cy="752184"/>
          </a:xfrm>
          <a:prstGeom prst="rect">
            <a:avLst/>
          </a:prstGeom>
          <a:noFill/>
          <a:ln>
            <a:noFill/>
          </a:ln>
        </p:spPr>
      </p:pic>
      <p:sp>
        <p:nvSpPr>
          <p:cNvPr id="149" name="Google Shape;149;p26"/>
          <p:cNvSpPr txBox="1">
            <a:spLocks noGrp="1"/>
          </p:cNvSpPr>
          <p:nvPr>
            <p:ph type="body" idx="1"/>
          </p:nvPr>
        </p:nvSpPr>
        <p:spPr>
          <a:xfrm>
            <a:off x="179388" y="195263"/>
            <a:ext cx="4910000" cy="6467600"/>
          </a:xfrm>
          <a:prstGeom prst="rect">
            <a:avLst/>
          </a:prstGeom>
          <a:gradFill>
            <a:gsLst>
              <a:gs pos="0">
                <a:srgbClr val="3CB28C">
                  <a:alpha val="89803"/>
                </a:srgbClr>
              </a:gs>
              <a:gs pos="100000">
                <a:srgbClr val="475DA7">
                  <a:alpha val="89803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/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26"/>
          <p:cNvSpPr txBox="1">
            <a:spLocks noGrp="1"/>
          </p:cNvSpPr>
          <p:nvPr>
            <p:ph type="ctrTitle"/>
          </p:nvPr>
        </p:nvSpPr>
        <p:spPr>
          <a:xfrm>
            <a:off x="839788" y="2061148"/>
            <a:ext cx="3867200" cy="20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 sz="32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26"/>
          <p:cNvSpPr txBox="1">
            <a:spLocks noGrp="1"/>
          </p:cNvSpPr>
          <p:nvPr>
            <p:ph type="subTitle" idx="2"/>
          </p:nvPr>
        </p:nvSpPr>
        <p:spPr>
          <a:xfrm>
            <a:off x="839788" y="4345805"/>
            <a:ext cx="3867200" cy="77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52" name="Google Shape;152;p26"/>
          <p:cNvSpPr txBox="1">
            <a:spLocks noGrp="1"/>
          </p:cNvSpPr>
          <p:nvPr>
            <p:ph type="body" idx="3"/>
          </p:nvPr>
        </p:nvSpPr>
        <p:spPr>
          <a:xfrm>
            <a:off x="839788" y="5361060"/>
            <a:ext cx="39572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Font typeface="Calibri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Calibri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26"/>
          <p:cNvSpPr txBox="1">
            <a:spLocks noGrp="1"/>
          </p:cNvSpPr>
          <p:nvPr>
            <p:ph type="body" idx="4"/>
          </p:nvPr>
        </p:nvSpPr>
        <p:spPr>
          <a:xfrm>
            <a:off x="839787" y="806208"/>
            <a:ext cx="2124800" cy="752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/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26"/>
          <p:cNvSpPr txBox="1">
            <a:spLocks noGrp="1"/>
          </p:cNvSpPr>
          <p:nvPr>
            <p:ph type="body" idx="5"/>
          </p:nvPr>
        </p:nvSpPr>
        <p:spPr>
          <a:xfrm>
            <a:off x="839788" y="5976319"/>
            <a:ext cx="16576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Calibri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09494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4_Title Slide 6">
  <p:cSld name="4_Title Slide 6"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" name="Google Shape;156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806" y="-1"/>
            <a:ext cx="12188391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7" name="Google Shape;157;p2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9788" y="806208"/>
            <a:ext cx="2124920" cy="752184"/>
          </a:xfrm>
          <a:prstGeom prst="rect">
            <a:avLst/>
          </a:prstGeom>
          <a:noFill/>
          <a:ln>
            <a:noFill/>
          </a:ln>
        </p:spPr>
      </p:pic>
      <p:sp>
        <p:nvSpPr>
          <p:cNvPr id="158" name="Google Shape;158;p27"/>
          <p:cNvSpPr txBox="1">
            <a:spLocks noGrp="1"/>
          </p:cNvSpPr>
          <p:nvPr>
            <p:ph type="body" idx="1"/>
          </p:nvPr>
        </p:nvSpPr>
        <p:spPr>
          <a:xfrm>
            <a:off x="179388" y="195263"/>
            <a:ext cx="4910000" cy="6467600"/>
          </a:xfrm>
          <a:prstGeom prst="rect">
            <a:avLst/>
          </a:prstGeom>
          <a:gradFill>
            <a:gsLst>
              <a:gs pos="0">
                <a:srgbClr val="3CB28C">
                  <a:alpha val="89803"/>
                </a:srgbClr>
              </a:gs>
              <a:gs pos="100000">
                <a:srgbClr val="475DA7">
                  <a:alpha val="89803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/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27"/>
          <p:cNvSpPr txBox="1">
            <a:spLocks noGrp="1"/>
          </p:cNvSpPr>
          <p:nvPr>
            <p:ph type="ctrTitle"/>
          </p:nvPr>
        </p:nvSpPr>
        <p:spPr>
          <a:xfrm>
            <a:off x="839788" y="2061148"/>
            <a:ext cx="3867200" cy="20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 sz="32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27"/>
          <p:cNvSpPr txBox="1">
            <a:spLocks noGrp="1"/>
          </p:cNvSpPr>
          <p:nvPr>
            <p:ph type="subTitle" idx="2"/>
          </p:nvPr>
        </p:nvSpPr>
        <p:spPr>
          <a:xfrm>
            <a:off x="839788" y="4345805"/>
            <a:ext cx="3867200" cy="77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61" name="Google Shape;161;p27"/>
          <p:cNvSpPr txBox="1">
            <a:spLocks noGrp="1"/>
          </p:cNvSpPr>
          <p:nvPr>
            <p:ph type="body" idx="3"/>
          </p:nvPr>
        </p:nvSpPr>
        <p:spPr>
          <a:xfrm>
            <a:off x="839788" y="5361060"/>
            <a:ext cx="39572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Font typeface="Calibri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Calibri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62" name="Google Shape;162;p27"/>
          <p:cNvSpPr txBox="1">
            <a:spLocks noGrp="1"/>
          </p:cNvSpPr>
          <p:nvPr>
            <p:ph type="body" idx="4"/>
          </p:nvPr>
        </p:nvSpPr>
        <p:spPr>
          <a:xfrm>
            <a:off x="839787" y="806208"/>
            <a:ext cx="2124800" cy="752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/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27"/>
          <p:cNvSpPr txBox="1">
            <a:spLocks noGrp="1"/>
          </p:cNvSpPr>
          <p:nvPr>
            <p:ph type="body" idx="5"/>
          </p:nvPr>
        </p:nvSpPr>
        <p:spPr>
          <a:xfrm>
            <a:off x="839788" y="5976319"/>
            <a:ext cx="16576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Calibri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4411229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_Title Slide 6">
  <p:cSld name="5_Title Slide 6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5" name="Google Shape;165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806" y="-1"/>
            <a:ext cx="12188391" cy="6858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66" name="Google Shape;166;p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9788" y="806208"/>
            <a:ext cx="2124920" cy="752184"/>
          </a:xfrm>
          <a:prstGeom prst="rect">
            <a:avLst/>
          </a:prstGeom>
          <a:noFill/>
          <a:ln>
            <a:noFill/>
          </a:ln>
        </p:spPr>
      </p:pic>
      <p:sp>
        <p:nvSpPr>
          <p:cNvPr id="167" name="Google Shape;167;p28"/>
          <p:cNvSpPr txBox="1">
            <a:spLocks noGrp="1"/>
          </p:cNvSpPr>
          <p:nvPr>
            <p:ph type="body" idx="1"/>
          </p:nvPr>
        </p:nvSpPr>
        <p:spPr>
          <a:xfrm>
            <a:off x="179388" y="195263"/>
            <a:ext cx="4910000" cy="6467600"/>
          </a:xfrm>
          <a:prstGeom prst="rect">
            <a:avLst/>
          </a:prstGeom>
          <a:gradFill>
            <a:gsLst>
              <a:gs pos="0">
                <a:srgbClr val="3CB28C">
                  <a:alpha val="89803"/>
                </a:srgbClr>
              </a:gs>
              <a:gs pos="100000">
                <a:srgbClr val="475DA7">
                  <a:alpha val="89803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/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28"/>
          <p:cNvSpPr txBox="1">
            <a:spLocks noGrp="1"/>
          </p:cNvSpPr>
          <p:nvPr>
            <p:ph type="ctrTitle"/>
          </p:nvPr>
        </p:nvSpPr>
        <p:spPr>
          <a:xfrm>
            <a:off x="839788" y="2061148"/>
            <a:ext cx="3867200" cy="20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 sz="32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28"/>
          <p:cNvSpPr txBox="1">
            <a:spLocks noGrp="1"/>
          </p:cNvSpPr>
          <p:nvPr>
            <p:ph type="subTitle" idx="2"/>
          </p:nvPr>
        </p:nvSpPr>
        <p:spPr>
          <a:xfrm>
            <a:off x="839788" y="4345805"/>
            <a:ext cx="3867200" cy="77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70" name="Google Shape;170;p28"/>
          <p:cNvSpPr txBox="1">
            <a:spLocks noGrp="1"/>
          </p:cNvSpPr>
          <p:nvPr>
            <p:ph type="body" idx="3"/>
          </p:nvPr>
        </p:nvSpPr>
        <p:spPr>
          <a:xfrm>
            <a:off x="839788" y="5361060"/>
            <a:ext cx="39572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Font typeface="Calibri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Calibri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71" name="Google Shape;171;p28"/>
          <p:cNvSpPr txBox="1">
            <a:spLocks noGrp="1"/>
          </p:cNvSpPr>
          <p:nvPr>
            <p:ph type="body" idx="4"/>
          </p:nvPr>
        </p:nvSpPr>
        <p:spPr>
          <a:xfrm>
            <a:off x="839787" y="806208"/>
            <a:ext cx="2124800" cy="752000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/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72" name="Google Shape;172;p28"/>
          <p:cNvSpPr txBox="1">
            <a:spLocks noGrp="1"/>
          </p:cNvSpPr>
          <p:nvPr>
            <p:ph type="body" idx="5"/>
          </p:nvPr>
        </p:nvSpPr>
        <p:spPr>
          <a:xfrm>
            <a:off x="839788" y="5976319"/>
            <a:ext cx="16576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Calibri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39703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7 - Insert own picture">
  <p:cSld name="Title Slide 7 - Insert own picture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29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175" name="Google Shape;175;p29"/>
          <p:cNvSpPr txBox="1">
            <a:spLocks noGrp="1"/>
          </p:cNvSpPr>
          <p:nvPr>
            <p:ph type="body" idx="1"/>
          </p:nvPr>
        </p:nvSpPr>
        <p:spPr>
          <a:xfrm>
            <a:off x="179388" y="195263"/>
            <a:ext cx="4910000" cy="6467600"/>
          </a:xfrm>
          <a:prstGeom prst="rect">
            <a:avLst/>
          </a:prstGeom>
          <a:gradFill>
            <a:gsLst>
              <a:gs pos="0">
                <a:srgbClr val="3CB28C">
                  <a:alpha val="89803"/>
                </a:srgbClr>
              </a:gs>
              <a:gs pos="100000">
                <a:srgbClr val="475DA7">
                  <a:alpha val="89803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/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76" name="Google Shape;176;p29"/>
          <p:cNvSpPr txBox="1">
            <a:spLocks noGrp="1"/>
          </p:cNvSpPr>
          <p:nvPr>
            <p:ph type="ctrTitle"/>
          </p:nvPr>
        </p:nvSpPr>
        <p:spPr>
          <a:xfrm>
            <a:off x="839788" y="2061148"/>
            <a:ext cx="3867200" cy="204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 sz="32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29"/>
          <p:cNvSpPr txBox="1">
            <a:spLocks noGrp="1"/>
          </p:cNvSpPr>
          <p:nvPr>
            <p:ph type="subTitle" idx="3"/>
          </p:nvPr>
        </p:nvSpPr>
        <p:spPr>
          <a:xfrm>
            <a:off x="839788" y="4345805"/>
            <a:ext cx="3867200" cy="77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178" name="Google Shape;178;p29"/>
          <p:cNvSpPr txBox="1">
            <a:spLocks noGrp="1"/>
          </p:cNvSpPr>
          <p:nvPr>
            <p:ph type="body" idx="4"/>
          </p:nvPr>
        </p:nvSpPr>
        <p:spPr>
          <a:xfrm>
            <a:off x="839788" y="5361060"/>
            <a:ext cx="39572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Calibri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Font typeface="Calibri"/>
              <a:buNone/>
              <a:defRPr>
                <a:solidFill>
                  <a:schemeClr val="lt1"/>
                </a:solidFill>
              </a:defRPr>
            </a:lvl2pPr>
            <a:lvl3pPr marL="1828754" lvl="2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Calibri"/>
              <a:buNone/>
              <a:defRPr>
                <a:solidFill>
                  <a:schemeClr val="lt1"/>
                </a:solidFill>
              </a:defRPr>
            </a:lvl3pPr>
            <a:lvl4pPr marL="2438339" lvl="3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4pPr>
            <a:lvl5pPr marL="3047924" lvl="4" indent="-304792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100"/>
              <a:buFont typeface="Calibri"/>
              <a:buNone/>
              <a:defRPr>
                <a:solidFill>
                  <a:schemeClr val="lt1"/>
                </a:solidFill>
              </a:defRPr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79" name="Google Shape;179;p29"/>
          <p:cNvSpPr txBox="1">
            <a:spLocks noGrp="1"/>
          </p:cNvSpPr>
          <p:nvPr>
            <p:ph type="body" idx="5"/>
          </p:nvPr>
        </p:nvSpPr>
        <p:spPr>
          <a:xfrm>
            <a:off x="839787" y="806208"/>
            <a:ext cx="2124800" cy="752000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/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29"/>
          <p:cNvSpPr txBox="1">
            <a:spLocks noGrp="1"/>
          </p:cNvSpPr>
          <p:nvPr>
            <p:ph type="body" idx="6"/>
          </p:nvPr>
        </p:nvSpPr>
        <p:spPr>
          <a:xfrm>
            <a:off x="839788" y="5976319"/>
            <a:ext cx="16576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Font typeface="Calibri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181076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51470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Just title">
  <p:cSld name="Just title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3"/>
          <p:cNvSpPr txBox="1">
            <a:spLocks noGrp="1"/>
          </p:cNvSpPr>
          <p:nvPr>
            <p:ph type="title"/>
          </p:nvPr>
        </p:nvSpPr>
        <p:spPr>
          <a:xfrm>
            <a:off x="839788" y="667385"/>
            <a:ext cx="8447200" cy="6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165312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ext and landscape image">
  <p:cSld name="1_Text and landscape image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34"/>
          <p:cNvSpPr txBox="1">
            <a:spLocks noGrp="1"/>
          </p:cNvSpPr>
          <p:nvPr>
            <p:ph type="title"/>
          </p:nvPr>
        </p:nvSpPr>
        <p:spPr>
          <a:xfrm>
            <a:off x="839788" y="667385"/>
            <a:ext cx="8447200" cy="6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94" name="Google Shape;194;p34"/>
          <p:cNvSpPr txBox="1">
            <a:spLocks noGrp="1"/>
          </p:cNvSpPr>
          <p:nvPr>
            <p:ph type="body" idx="1"/>
          </p:nvPr>
        </p:nvSpPr>
        <p:spPr>
          <a:xfrm>
            <a:off x="839788" y="1520825"/>
            <a:ext cx="5756400" cy="46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43178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•"/>
              <a:defRPr b="0"/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95" name="Google Shape;195;p34"/>
          <p:cNvSpPr>
            <a:spLocks noGrp="1"/>
          </p:cNvSpPr>
          <p:nvPr>
            <p:ph type="pic" idx="2"/>
          </p:nvPr>
        </p:nvSpPr>
        <p:spPr>
          <a:xfrm>
            <a:off x="6770955" y="1520825"/>
            <a:ext cx="4762400" cy="31988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7716863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ext and portrait image">
  <p:cSld name="1_Text and portrait image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35"/>
          <p:cNvSpPr txBox="1">
            <a:spLocks noGrp="1"/>
          </p:cNvSpPr>
          <p:nvPr>
            <p:ph type="title"/>
          </p:nvPr>
        </p:nvSpPr>
        <p:spPr>
          <a:xfrm>
            <a:off x="839788" y="667385"/>
            <a:ext cx="8447200" cy="6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98" name="Google Shape;198;p35"/>
          <p:cNvSpPr txBox="1">
            <a:spLocks noGrp="1"/>
          </p:cNvSpPr>
          <p:nvPr>
            <p:ph type="body" idx="1"/>
          </p:nvPr>
        </p:nvSpPr>
        <p:spPr>
          <a:xfrm>
            <a:off x="839789" y="1520825"/>
            <a:ext cx="7569600" cy="46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43178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Char char="•"/>
              <a:defRPr b="0"/>
            </a:lvl1pPr>
            <a:lvl2pPr marL="1219170" lvl="1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99" name="Google Shape;199;p35"/>
          <p:cNvSpPr>
            <a:spLocks noGrp="1"/>
          </p:cNvSpPr>
          <p:nvPr>
            <p:ph type="pic" idx="2"/>
          </p:nvPr>
        </p:nvSpPr>
        <p:spPr>
          <a:xfrm>
            <a:off x="8554720" y="1530775"/>
            <a:ext cx="2978400" cy="46380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47960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Divider 1">
  <p:cSld name="1_Divider 1"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3" name="Google Shape;203;p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204" name="Google Shape;204;p37"/>
          <p:cNvSpPr txBox="1">
            <a:spLocks noGrp="1"/>
          </p:cNvSpPr>
          <p:nvPr>
            <p:ph type="ctrTitle"/>
          </p:nvPr>
        </p:nvSpPr>
        <p:spPr>
          <a:xfrm>
            <a:off x="839788" y="1839451"/>
            <a:ext cx="9810800" cy="15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Calibri"/>
              <a:buNone/>
              <a:defRPr sz="36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05" name="Google Shape;205;p37"/>
          <p:cNvSpPr txBox="1">
            <a:spLocks noGrp="1"/>
          </p:cNvSpPr>
          <p:nvPr>
            <p:ph type="subTitle" idx="1"/>
          </p:nvPr>
        </p:nvSpPr>
        <p:spPr>
          <a:xfrm>
            <a:off x="839788" y="3666100"/>
            <a:ext cx="9810800" cy="7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pic>
        <p:nvPicPr>
          <p:cNvPr id="206" name="Google Shape;206;p3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90302" y="551516"/>
            <a:ext cx="1525133" cy="5398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77429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049743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44387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101135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E39C396C-E9B4-F84D-A5A0-82A30B0D72CD}" type="datetime1">
              <a:rPr lang="en-GB" smtClean="0"/>
              <a:t>09/11/2023</a:t>
            </a:fld>
            <a:endParaRPr lang="en-US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9103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Divider 2">
  <p:cSld name="1_Divider 2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8" name="Google Shape;208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209" name="Google Shape;209;p38"/>
          <p:cNvSpPr txBox="1">
            <a:spLocks noGrp="1"/>
          </p:cNvSpPr>
          <p:nvPr>
            <p:ph type="ctrTitle"/>
          </p:nvPr>
        </p:nvSpPr>
        <p:spPr>
          <a:xfrm>
            <a:off x="839788" y="1839451"/>
            <a:ext cx="9810800" cy="15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Calibri"/>
              <a:buNone/>
              <a:defRPr sz="36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10" name="Google Shape;210;p38"/>
          <p:cNvSpPr txBox="1">
            <a:spLocks noGrp="1"/>
          </p:cNvSpPr>
          <p:nvPr>
            <p:ph type="subTitle" idx="1"/>
          </p:nvPr>
        </p:nvSpPr>
        <p:spPr>
          <a:xfrm>
            <a:off x="839788" y="3666100"/>
            <a:ext cx="9810800" cy="7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pic>
        <p:nvPicPr>
          <p:cNvPr id="211" name="Google Shape;211;p3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90302" y="551516"/>
            <a:ext cx="1525133" cy="5398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178552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Divider 3">
  <p:cSld name="1_Divider 3"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3" name="Google Shape;213;p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214" name="Google Shape;214;p39"/>
          <p:cNvSpPr txBox="1">
            <a:spLocks noGrp="1"/>
          </p:cNvSpPr>
          <p:nvPr>
            <p:ph type="ctrTitle"/>
          </p:nvPr>
        </p:nvSpPr>
        <p:spPr>
          <a:xfrm>
            <a:off x="839788" y="1839451"/>
            <a:ext cx="9810800" cy="15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Calibri"/>
              <a:buNone/>
              <a:defRPr sz="36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15" name="Google Shape;215;p39"/>
          <p:cNvSpPr txBox="1">
            <a:spLocks noGrp="1"/>
          </p:cNvSpPr>
          <p:nvPr>
            <p:ph type="subTitle" idx="1"/>
          </p:nvPr>
        </p:nvSpPr>
        <p:spPr>
          <a:xfrm>
            <a:off x="839788" y="3666100"/>
            <a:ext cx="9810800" cy="7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pic>
        <p:nvPicPr>
          <p:cNvPr id="216" name="Google Shape;216;p3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90302" y="551516"/>
            <a:ext cx="1525133" cy="5398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6749220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Divider 4">
  <p:cSld name="2_Divider 4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8" name="Google Shape;218;p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219" name="Google Shape;219;p40"/>
          <p:cNvSpPr txBox="1">
            <a:spLocks noGrp="1"/>
          </p:cNvSpPr>
          <p:nvPr>
            <p:ph type="ctrTitle"/>
          </p:nvPr>
        </p:nvSpPr>
        <p:spPr>
          <a:xfrm>
            <a:off x="839788" y="1839451"/>
            <a:ext cx="9810800" cy="15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Calibri"/>
              <a:buNone/>
              <a:defRPr sz="36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20" name="Google Shape;220;p40"/>
          <p:cNvSpPr txBox="1">
            <a:spLocks noGrp="1"/>
          </p:cNvSpPr>
          <p:nvPr>
            <p:ph type="subTitle" idx="1"/>
          </p:nvPr>
        </p:nvSpPr>
        <p:spPr>
          <a:xfrm>
            <a:off x="839788" y="3666100"/>
            <a:ext cx="9810800" cy="7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2000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2000"/>
            </a:lvl2pPr>
            <a:lvl3pPr lvl="2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4pPr>
            <a:lvl5pPr lvl="4" algn="ctr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pic>
        <p:nvPicPr>
          <p:cNvPr id="221" name="Google Shape;221;p4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90302" y="551516"/>
            <a:ext cx="1525133" cy="5398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49073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B4FD87-4EBA-4BE9-85E0-D53F0B34CB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54" y="1654"/>
          <a:ext cx="1655" cy="16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B4FD87-4EBA-4BE9-85E0-D53F0B34C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54" y="1654"/>
                        <a:ext cx="1655" cy="16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4A9E0E-BA4D-452C-A5B0-99C0B60C4C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165360" cy="1653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915" b="0" i="0" baseline="0" dirty="0">
              <a:latin typeface="Sky Text Medium" panose="020B0506040202020204" pitchFamily="34" charset="0"/>
              <a:ea typeface="+mj-ea"/>
              <a:sym typeface="Sky Text Medium" panose="020B050604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5">
                <a:latin typeface="+mj-lt"/>
              </a:defRPr>
            </a:lvl1pPr>
          </a:lstStyle>
          <a:p>
            <a:r>
              <a:rPr lang="en-GB"/>
              <a:t>Heading Sky text 28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772880" y="6350890"/>
            <a:ext cx="646249" cy="267299"/>
          </a:xfrm>
          <a:prstGeom prst="rect">
            <a:avLst/>
          </a:prstGeom>
          <a:noFill/>
        </p:spPr>
        <p:txBody>
          <a:bodyPr wrap="square" lIns="121899" tIns="60951" rIns="121899" bIns="60951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GB" sz="937" smtClean="0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GB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18A7582-9D6B-2A4B-8DFE-660DE72675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1755" y="5991659"/>
            <a:ext cx="4872592" cy="347283"/>
          </a:xfrm>
        </p:spPr>
        <p:txBody>
          <a:bodyPr anchor="b"/>
          <a:lstStyle>
            <a:lvl1pPr marL="0" indent="0">
              <a:buNone/>
              <a:defRPr sz="937">
                <a:solidFill>
                  <a:srgbClr val="000000"/>
                </a:solidFill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75428-9BE9-5844-8084-9046C43D0334}"/>
              </a:ext>
            </a:extLst>
          </p:cNvPr>
          <p:cNvSpPr/>
          <p:nvPr userDrawn="1"/>
        </p:nvSpPr>
        <p:spPr>
          <a:xfrm rot="5400000">
            <a:off x="-3389315" y="3389315"/>
            <a:ext cx="6858000" cy="79373"/>
          </a:xfrm>
          <a:prstGeom prst="rect">
            <a:avLst/>
          </a:prstGeom>
          <a:gradFill>
            <a:gsLst>
              <a:gs pos="0">
                <a:srgbClr val="F08300"/>
              </a:gs>
              <a:gs pos="100000">
                <a:srgbClr val="064497"/>
              </a:gs>
              <a:gs pos="35000">
                <a:srgbClr val="E3000F"/>
              </a:gs>
              <a:gs pos="80000">
                <a:srgbClr val="A72879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75" dirty="0"/>
          </a:p>
        </p:txBody>
      </p:sp>
    </p:spTree>
    <p:extLst>
      <p:ext uri="{BB962C8B-B14F-4D97-AF65-F5344CB8AC3E}">
        <p14:creationId xmlns:p14="http://schemas.microsoft.com/office/powerpoint/2010/main" val="14124429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-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lnSpc>
                <a:spcPts val="3125"/>
              </a:lnSpc>
              <a:spcBef>
                <a:spcPts val="0"/>
              </a:spcBef>
              <a:defRPr sz="2916">
                <a:latin typeface="+mj-lt"/>
              </a:defRPr>
            </a:lvl1pPr>
          </a:lstStyle>
          <a:p>
            <a:r>
              <a:rPr lang="en-US" dirty="0"/>
              <a:t>Heading Sky text 28pt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DA7EFF-A56F-EA4F-8F5D-BBB210D4127B}"/>
              </a:ext>
            </a:extLst>
          </p:cNvPr>
          <p:cNvSpPr txBox="1"/>
          <p:nvPr userDrawn="1"/>
        </p:nvSpPr>
        <p:spPr>
          <a:xfrm>
            <a:off x="5772877" y="6350872"/>
            <a:ext cx="646249" cy="267315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chemeClr val="tx1"/>
                </a:solidFill>
                <a:latin typeface="+mj-lt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chemeClr val="tx1"/>
              </a:solidFill>
              <a:latin typeface="+mj-lt"/>
              <a:ea typeface="Sky Tex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0BB793-F845-5640-9F18-1F2FF8B8C14E}"/>
              </a:ext>
            </a:extLst>
          </p:cNvPr>
          <p:cNvSpPr/>
          <p:nvPr userDrawn="1"/>
        </p:nvSpPr>
        <p:spPr>
          <a:xfrm rot="5400000">
            <a:off x="-3389315" y="3389315"/>
            <a:ext cx="6858000" cy="79373"/>
          </a:xfrm>
          <a:prstGeom prst="rect">
            <a:avLst/>
          </a:prstGeom>
          <a:gradFill>
            <a:gsLst>
              <a:gs pos="0">
                <a:srgbClr val="FF9E00"/>
              </a:gs>
              <a:gs pos="100000">
                <a:srgbClr val="0071FF"/>
              </a:gs>
              <a:gs pos="35000">
                <a:srgbClr val="E10000"/>
              </a:gs>
              <a:gs pos="85000">
                <a:srgbClr val="21429C"/>
              </a:gs>
              <a:gs pos="60000">
                <a:srgbClr val="B5007D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291470531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C2356CD-5F6B-ED44-8AF2-F5EE86C948B6}"/>
              </a:ext>
            </a:extLst>
          </p:cNvPr>
          <p:cNvSpPr/>
          <p:nvPr userDrawn="1"/>
        </p:nvSpPr>
        <p:spPr>
          <a:xfrm>
            <a:off x="297649" y="293537"/>
            <a:ext cx="11596705" cy="6270928"/>
          </a:xfrm>
          <a:prstGeom prst="rect">
            <a:avLst/>
          </a:prstGeom>
          <a:gradFill>
            <a:gsLst>
              <a:gs pos="100000">
                <a:srgbClr val="6E00FF"/>
              </a:gs>
              <a:gs pos="0">
                <a:srgbClr val="FF00A5"/>
              </a:gs>
            </a:gsLst>
            <a:lin ang="2064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75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2E79A0D-5A92-6549-A3BA-FB6C2A5E9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756" y="3076383"/>
            <a:ext cx="10948493" cy="705236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583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itle Sky text 44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80403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  <p:extLst>
    <p:ext uri="{DCECCB84-F9BA-43D5-87BE-67443E8EF086}">
      <p15:sldGuideLst xmlns:p15="http://schemas.microsoft.com/office/powerpoint/2012/main">
        <p15:guide id="1" orient="horz" pos="2764">
          <p15:clr>
            <a:srgbClr val="FBAE40"/>
          </p15:clr>
        </p15:guide>
        <p15:guide id="2" pos="4915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2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1"/>
            <a:ext cx="7515936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1"/>
            <a:ext cx="7515936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8" y="6014836"/>
            <a:ext cx="607748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79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387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09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2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5955665-144D-F642-B7A8-9F19D43664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9" y="806208"/>
            <a:ext cx="2124921" cy="752184"/>
          </a:xfrm>
          <a:prstGeom prst="rect">
            <a:avLst/>
          </a:prstGeom>
        </p:spPr>
      </p:pic>
      <p:sp>
        <p:nvSpPr>
          <p:cNvPr id="24" name="Date Placeholder 39">
            <a:extLst>
              <a:ext uri="{FF2B5EF4-FFF2-40B4-BE49-F238E27FC236}">
                <a16:creationId xmlns:a16="http://schemas.microsoft.com/office/drawing/2014/main" id="{866C7F25-BB19-B84F-BB91-34AB7A58EF3E}"/>
              </a:ext>
            </a:extLst>
          </p:cNvPr>
          <p:cNvSpPr txBox="1">
            <a:spLocks/>
          </p:cNvSpPr>
          <p:nvPr userDrawn="1"/>
        </p:nvSpPr>
        <p:spPr>
          <a:xfrm>
            <a:off x="839789" y="5990983"/>
            <a:ext cx="1339724" cy="21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D7F4D8B-2C60-204D-9B02-1DFCD1EE4145}" type="datetime1">
              <a:rPr lang="en-GB" sz="1600" smtClean="0"/>
              <a:t>09/11/2023</a:t>
            </a:fld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47573249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9" y="2473291"/>
            <a:ext cx="6428115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90" y="5097991"/>
            <a:ext cx="634139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8" y="6014836"/>
            <a:ext cx="4902948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79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387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09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2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e Placeholder 39">
            <a:extLst>
              <a:ext uri="{FF2B5EF4-FFF2-40B4-BE49-F238E27FC236}">
                <a16:creationId xmlns:a16="http://schemas.microsoft.com/office/drawing/2014/main" id="{866C7F25-BB19-B84F-BB91-34AB7A58EF3E}"/>
              </a:ext>
            </a:extLst>
          </p:cNvPr>
          <p:cNvSpPr txBox="1">
            <a:spLocks/>
          </p:cNvSpPr>
          <p:nvPr userDrawn="1"/>
        </p:nvSpPr>
        <p:spPr>
          <a:xfrm>
            <a:off x="839789" y="5990983"/>
            <a:ext cx="1339724" cy="21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0AE0E71-E2E3-4A44-8360-1EDD7E4079BA}" type="datetime1">
              <a:rPr lang="en-GB" sz="1600" smtClean="0"/>
              <a:t>09/11/2023</a:t>
            </a:fld>
            <a:endParaRPr lang="en-US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0B30D51-1C88-D84B-B986-A8AB4A7D69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9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7662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4E8914C-F5C8-4445-8022-325056B6C05D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1"/>
            <a:ext cx="6806488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1"/>
            <a:ext cx="6609416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4836"/>
            <a:ext cx="5115787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79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387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09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2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Date Placeholder 39">
            <a:extLst>
              <a:ext uri="{FF2B5EF4-FFF2-40B4-BE49-F238E27FC236}">
                <a16:creationId xmlns:a16="http://schemas.microsoft.com/office/drawing/2014/main" id="{866C7F25-BB19-B84F-BB91-34AB7A58EF3E}"/>
              </a:ext>
            </a:extLst>
          </p:cNvPr>
          <p:cNvSpPr txBox="1">
            <a:spLocks/>
          </p:cNvSpPr>
          <p:nvPr userDrawn="1"/>
        </p:nvSpPr>
        <p:spPr>
          <a:xfrm>
            <a:off x="839789" y="5990983"/>
            <a:ext cx="1339724" cy="21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B89675-1F3E-8A49-A7D5-14AF1E428D44}" type="datetime1">
              <a:rPr lang="en-GB" sz="1600" smtClean="0"/>
              <a:t>09/11/2023</a:t>
            </a:fld>
            <a:endParaRPr lang="en-US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86E8EE-4B91-B84E-ADB0-4C4AD2DE40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9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25410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2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1"/>
            <a:ext cx="9752472" cy="2387600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1"/>
            <a:ext cx="9810661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8" y="6015328"/>
            <a:ext cx="8281900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79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387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09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9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9" y="806208"/>
            <a:ext cx="2124921" cy="752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AAF761A-0D65-FF44-AFC3-73EC32F63A4E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2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2229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6049743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8" y="5097990"/>
            <a:ext cx="644387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101135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E39C396C-E9B4-F84D-A5A0-82A30B0D72CD}" type="datetime1">
              <a:rPr lang="en-GB" smtClean="0"/>
              <a:t>09/11/2023</a:t>
            </a:fld>
            <a:endParaRPr lang="en-US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0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96767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5" y="2"/>
            <a:ext cx="12188387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1"/>
            <a:ext cx="7689357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1"/>
            <a:ext cx="7381928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25090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79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387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09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9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9" y="806208"/>
            <a:ext cx="2124921" cy="752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F544B9-31AD-3D41-BB4A-D601B1976454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2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707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2" y="2"/>
            <a:ext cx="12191999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1"/>
            <a:ext cx="7689357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1"/>
            <a:ext cx="7381928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25090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79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387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09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9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9" y="806208"/>
            <a:ext cx="2124921" cy="752184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C48384-EFB8-C847-B614-B51B78272A7F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2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781616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90" y="2473291"/>
            <a:ext cx="6049743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90" y="5097991"/>
            <a:ext cx="644387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8" y="6015328"/>
            <a:ext cx="6101135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79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387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09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9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2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9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7290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90" y="2473291"/>
            <a:ext cx="6049743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90" y="5097991"/>
            <a:ext cx="6443879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8" y="6015328"/>
            <a:ext cx="6101135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79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387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09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9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DA0C8FC-F8BC-E14C-8491-8D49BB273A52}"/>
              </a:ext>
            </a:extLst>
          </p:cNvPr>
          <p:cNvCxnSpPr>
            <a:cxnSpLocks/>
          </p:cNvCxnSpPr>
          <p:nvPr userDrawn="1"/>
        </p:nvCxnSpPr>
        <p:spPr>
          <a:xfrm>
            <a:off x="2044847" y="5976002"/>
            <a:ext cx="0" cy="231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9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4636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6" y="-1"/>
            <a:ext cx="12188391" cy="68580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9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9" y="195264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9" y="2061149"/>
            <a:ext cx="3867123" cy="2047559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9" y="4345805"/>
            <a:ext cx="3867121" cy="778155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79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387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09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9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9" y="5976319"/>
            <a:ext cx="1657351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13645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6" y="-1"/>
            <a:ext cx="12188391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9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9" y="195264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9" y="2061149"/>
            <a:ext cx="3867123" cy="2047559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9" y="4345805"/>
            <a:ext cx="3867121" cy="778155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79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387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09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9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9" y="5976319"/>
            <a:ext cx="1657351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1974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7" y="-1"/>
            <a:ext cx="12188388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9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9" y="195264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9" y="2061149"/>
            <a:ext cx="3867123" cy="2047559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9" y="4345805"/>
            <a:ext cx="3867121" cy="778155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79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387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09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9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9" y="5976319"/>
            <a:ext cx="1657351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1361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7" y="1"/>
            <a:ext cx="12188388" cy="68579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9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9" y="195264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9" y="2061149"/>
            <a:ext cx="3867123" cy="2047559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9" y="4345805"/>
            <a:ext cx="3867121" cy="778155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79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387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09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9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9" y="5976319"/>
            <a:ext cx="1657351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6678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 - Insert ow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60CBDBE-653B-0E46-98D2-7967FA83715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/>
              <a:t>Click to insert </a:t>
            </a:r>
            <a:br>
              <a:rPr lang="en-US" dirty="0"/>
            </a:br>
            <a:r>
              <a:rPr lang="en-US" dirty="0"/>
              <a:t>backgroun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4ED97BF-6115-BD4B-993D-C8F2187EE7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9" y="195264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9789" y="2061149"/>
            <a:ext cx="3867123" cy="2047559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4345805"/>
            <a:ext cx="3867121" cy="778155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79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387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09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4D073DA-84B7-4A42-88D8-9D284311B1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9" y="806208"/>
            <a:ext cx="2124921" cy="75218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904F43E-0FCE-6A46-8B17-A97CDC41E5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9" y="5976319"/>
            <a:ext cx="1657351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B172ACA8-D828-6340-96A9-ABAB73B36A0D}" type="datetime1">
              <a:rPr lang="en-GB" smtClean="0"/>
              <a:t>07/11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82577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ull pa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90" y="667386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5405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DBE70A29-4179-264D-9F48-9195BB0FA17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1805" y="-1"/>
            <a:ext cx="12188390" cy="68580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01EE7FF-A399-B341-BFB9-2152074A0E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388" y="195263"/>
            <a:ext cx="4910137" cy="6467475"/>
          </a:xfrm>
          <a:gradFill>
            <a:gsLst>
              <a:gs pos="0">
                <a:schemeClr val="tx1">
                  <a:alpha val="9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2700000" scaled="1"/>
          </a:gra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AEFD75-6203-094F-AC8F-DBA636DF48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788" y="2061148"/>
            <a:ext cx="3867123" cy="2047558"/>
          </a:xfrm>
        </p:spPr>
        <p:txBody>
          <a:bodyPr anchor="b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</a:t>
            </a:r>
            <a:br>
              <a:rPr lang="en-GB"/>
            </a:br>
            <a:r>
              <a:rPr lang="en-GB"/>
              <a:t>title style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83CFA1D-A50E-784B-BC02-CED5B7984F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4345806"/>
            <a:ext cx="3867121" cy="778154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38">
            <a:extLst>
              <a:ext uri="{FF2B5EF4-FFF2-40B4-BE49-F238E27FC236}">
                <a16:creationId xmlns:a16="http://schemas.microsoft.com/office/drawing/2014/main" id="{BFA942E4-110D-934B-9315-799FA9BF59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8" y="5361060"/>
            <a:ext cx="395706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 presentation b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6856BAA-F8EE-0A43-A941-448CE94B3C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7" y="806208"/>
            <a:ext cx="2124921" cy="75218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F79D8683-BA36-C947-A418-71A7738D0E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8" y="5976319"/>
            <a:ext cx="1657350" cy="304800"/>
          </a:xfrm>
        </p:spPr>
        <p:txBody>
          <a:bodyPr/>
          <a:lstStyle>
            <a:lvl1pPr marL="0" indent="0" algn="l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fld id="{2A1A54FD-037D-1646-A58B-27BCF297DCAB}" type="datetime1">
              <a:rPr lang="en-GB" smtClean="0"/>
              <a:t>07/11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96858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landscap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88" y="1520827"/>
            <a:ext cx="5756397" cy="46380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70956" y="1520827"/>
            <a:ext cx="4762233" cy="3198813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59845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9790" y="1520827"/>
            <a:ext cx="7569567" cy="46380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4721" y="1530775"/>
            <a:ext cx="2978468" cy="4638012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19451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953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761F4-9ADD-E84A-84E1-2821D3FA3D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90" y="667386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13426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D82230-362E-444A-BFE1-77023AC14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90" y="560099"/>
            <a:ext cx="8447087" cy="6127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6159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9" y="1839450"/>
            <a:ext cx="9810660" cy="1589551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1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2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51179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9" y="1839450"/>
            <a:ext cx="9810660" cy="1589551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1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2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66868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2" y="0"/>
            <a:ext cx="12191999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9" y="1839450"/>
            <a:ext cx="9810660" cy="1589551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1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2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95858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1061E6-BAC7-B345-A5F9-B7365FB51AF5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7BEE7B2-EA63-0944-953E-A25B95FDFF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9" y="1839450"/>
            <a:ext cx="9810660" cy="1589551"/>
          </a:xfrm>
        </p:spPr>
        <p:txBody>
          <a:bodyPr anchor="b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0154B60-1327-B443-A57C-1B92E352FD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666101"/>
            <a:ext cx="9810661" cy="7700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4E01EB-BAA4-6848-B4DC-82EAB6A133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0302" y="55151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7974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FB2CED1-F602-3443-891F-03DEDF624910}"/>
              </a:ext>
            </a:extLst>
          </p:cNvPr>
          <p:cNvPicPr>
            <a:picLocks/>
          </p:cNvPicPr>
          <p:nvPr userDrawn="1"/>
        </p:nvPicPr>
        <p:blipFill>
          <a:blip r:embed="rId2"/>
          <a:srcRect/>
          <a:stretch/>
        </p:blipFill>
        <p:spPr>
          <a:xfrm>
            <a:off x="23672" y="13316"/>
            <a:ext cx="12144656" cy="683136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788" y="2473290"/>
            <a:ext cx="7689357" cy="2387600"/>
          </a:xfrm>
        </p:spPr>
        <p:txBody>
          <a:bodyPr anchor="b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789" y="5097990"/>
            <a:ext cx="7381928" cy="350303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FA491AA-FFCE-C043-8E57-3D1E24DB82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78237" y="6015328"/>
            <a:ext cx="6250904" cy="216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180975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8" indent="0">
              <a:buFontTx/>
              <a:buNone/>
              <a:defRPr>
                <a:solidFill>
                  <a:schemeClr val="bg1"/>
                </a:solidFill>
              </a:defRPr>
            </a:lvl3pPr>
            <a:lvl4pPr marL="533400" indent="0">
              <a:buFontTx/>
              <a:buNone/>
              <a:defRPr>
                <a:solidFill>
                  <a:schemeClr val="bg1"/>
                </a:solidFill>
              </a:defRPr>
            </a:lvl4pPr>
            <a:lvl5pPr marL="66992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 presentation by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D27978EC-FEED-D547-806F-8C9507BB2B4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39788" y="5990748"/>
            <a:ext cx="1339724" cy="216000"/>
          </a:xfrm>
        </p:spPr>
        <p:txBody>
          <a:bodyPr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D474A81-573F-054D-92FA-1528243B4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9788" y="806208"/>
            <a:ext cx="2124921" cy="75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59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jpeg"/><Relationship Id="rId30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image" Target="../media/image22.jp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image" Target="../media/image1.jpeg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88A988C-8FC5-B140-870C-808D2E6BF37E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9788" y="667385"/>
            <a:ext cx="8447087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520825"/>
            <a:ext cx="10693400" cy="46380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E3656D3-FE2B-6A44-92B0-3F68D7B9A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0667" y="6339812"/>
            <a:ext cx="41148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ED4E42-D5D3-FC44-A366-76B79312A7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68000" y="6339811"/>
            <a:ext cx="1080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76741DC-DF85-3048-BB35-B30D52CEE7DA}" type="datetime1">
              <a:rPr lang="en-GB" smtClean="0"/>
              <a:t>09/11/2023</a:t>
            </a:fld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2DB7DE-CC3B-5147-AE8D-3109A1875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3188" y="6339811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|  </a:t>
            </a:r>
            <a:fld id="{A134C65A-A9BE-9F48-B07C-F2CA02A2F78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8500E30-7857-7640-A456-05EB959AEF0B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10190300" y="549155"/>
            <a:ext cx="1525132" cy="53986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689E5C-1590-5D87-DD5D-3598CFDA9C2D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37730" y="454025"/>
            <a:ext cx="988933" cy="6127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7A5E7C6-7E72-B5E0-E982-3461C6269F25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244193" y="6297222"/>
            <a:ext cx="671409" cy="26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692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777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782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774" r:id="rId18"/>
    <p:sldLayoutId id="2147483775" r:id="rId19"/>
    <p:sldLayoutId id="2147483681" r:id="rId20"/>
    <p:sldLayoutId id="2147483682" r:id="rId21"/>
    <p:sldLayoutId id="2147483767" r:id="rId22"/>
    <p:sldLayoutId id="2147483768" r:id="rId23"/>
    <p:sldLayoutId id="2147483769" r:id="rId24"/>
    <p:sldLayoutId id="2147483771" r:id="rId2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357188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493713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669925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00100" indent="-1301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211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4110">
          <p15:clr>
            <a:srgbClr val="F26B43"/>
          </p15:clr>
        </p15:guide>
        <p15:guide id="6" orient="horz" pos="754">
          <p15:clr>
            <a:srgbClr val="F26B43"/>
          </p15:clr>
        </p15:guide>
        <p15:guide id="8" orient="horz" pos="414">
          <p15:clr>
            <a:srgbClr val="F26B43"/>
          </p15:clr>
        </p15:guide>
        <p15:guide id="9" pos="7265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1" orient="horz" pos="3997">
          <p15:clr>
            <a:srgbClr val="F26B43"/>
          </p15:clr>
        </p15:guide>
        <p15:guide id="12" pos="7378">
          <p15:clr>
            <a:srgbClr val="F26B43"/>
          </p15:clr>
        </p15:guide>
        <p15:guide id="13" pos="529">
          <p15:clr>
            <a:srgbClr val="F26B43"/>
          </p15:clr>
        </p15:guide>
        <p15:guide id="14" orient="horz" pos="686">
          <p15:clr>
            <a:srgbClr val="F26B43"/>
          </p15:clr>
        </p15:guide>
        <p15:guide id="15" orient="horz" pos="958">
          <p15:clr>
            <a:srgbClr val="F26B43"/>
          </p15:clr>
        </p15:guide>
        <p15:guide id="16" orient="horz" pos="34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88A988C-8FC5-B140-870C-808D2E6BF37E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9788" y="667385"/>
            <a:ext cx="8447087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/>
              <a:t>Click to edit Master title</a:t>
            </a:r>
            <a:br>
              <a:rPr lang="en-GB"/>
            </a:br>
            <a:r>
              <a:rPr lang="en-GB"/>
              <a:t>Allowance for heading to span over 2 lines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520825"/>
            <a:ext cx="10693400" cy="46380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E3656D3-FE2B-6A44-92B0-3F68D7B9A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0667" y="6339812"/>
            <a:ext cx="41148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ED4E42-D5D3-FC44-A366-76B79312A7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68000" y="6339811"/>
            <a:ext cx="1080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76741DC-DF85-3048-BB35-B30D52CEE7DA}" type="datetime1">
              <a:rPr lang="en-GB" smtClean="0"/>
              <a:t>09/11/2023</a:t>
            </a:fld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2DB7DE-CC3B-5147-AE8D-3109A1875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3188" y="6339811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|  </a:t>
            </a:r>
            <a:fld id="{A134C65A-A9BE-9F48-B07C-F2CA02A2F78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8500E30-7857-7640-A456-05EB959AEF0B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10190300" y="549155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436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  <p:sldLayoutId id="2147483798" r:id="rId15"/>
    <p:sldLayoutId id="2147483799" r:id="rId16"/>
    <p:sldLayoutId id="2147483800" r:id="rId17"/>
    <p:sldLayoutId id="2147483801" r:id="rId18"/>
    <p:sldLayoutId id="2147483804" r:id="rId19"/>
    <p:sldLayoutId id="2147483805" r:id="rId20"/>
    <p:sldLayoutId id="2147483806" r:id="rId21"/>
    <p:sldLayoutId id="2147483807" r:id="rId22"/>
    <p:sldLayoutId id="2147483808" r:id="rId23"/>
    <p:sldLayoutId id="2147483809" r:id="rId24"/>
    <p:sldLayoutId id="2147483810" r:id="rId2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357188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493713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669925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00100" indent="-1301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211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4110">
          <p15:clr>
            <a:srgbClr val="F26B43"/>
          </p15:clr>
        </p15:guide>
        <p15:guide id="6" orient="horz" pos="754">
          <p15:clr>
            <a:srgbClr val="F26B43"/>
          </p15:clr>
        </p15:guide>
        <p15:guide id="8" orient="horz" pos="414">
          <p15:clr>
            <a:srgbClr val="F26B43"/>
          </p15:clr>
        </p15:guide>
        <p15:guide id="9" pos="7265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1" orient="horz" pos="3997">
          <p15:clr>
            <a:srgbClr val="F26B43"/>
          </p15:clr>
        </p15:guide>
        <p15:guide id="12" pos="7378">
          <p15:clr>
            <a:srgbClr val="F26B43"/>
          </p15:clr>
        </p15:guide>
        <p15:guide id="13" pos="529">
          <p15:clr>
            <a:srgbClr val="F26B43"/>
          </p15:clr>
        </p15:guide>
        <p15:guide id="14" orient="horz" pos="686">
          <p15:clr>
            <a:srgbClr val="F26B43"/>
          </p15:clr>
        </p15:guide>
        <p15:guide id="15" orient="horz" pos="958">
          <p15:clr>
            <a:srgbClr val="F26B43"/>
          </p15:clr>
        </p15:guide>
        <p15:guide id="16" orient="horz" pos="34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Google Shape;63;p15"/>
          <p:cNvPicPr preferRelativeResize="0"/>
          <p:nvPr/>
        </p:nvPicPr>
        <p:blipFill rotWithShape="1">
          <a:blip r:embed="rId27">
            <a:alphaModFix/>
          </a:blip>
          <a:srcRect/>
          <a:stretch/>
        </p:blipFill>
        <p:spPr>
          <a:xfrm>
            <a:off x="0" y="0"/>
            <a:ext cx="12191995" cy="6858005"/>
          </a:xfrm>
          <a:prstGeom prst="rect">
            <a:avLst/>
          </a:prstGeom>
          <a:noFill/>
          <a:ln>
            <a:noFill/>
          </a:ln>
        </p:spPr>
      </p:pic>
      <p:sp>
        <p:nvSpPr>
          <p:cNvPr id="64" name="Google Shape;64;p15"/>
          <p:cNvSpPr txBox="1">
            <a:spLocks noGrp="1"/>
          </p:cNvSpPr>
          <p:nvPr>
            <p:ph type="title"/>
          </p:nvPr>
        </p:nvSpPr>
        <p:spPr>
          <a:xfrm>
            <a:off x="839788" y="667385"/>
            <a:ext cx="8447200" cy="6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 sz="18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  <p:sp>
        <p:nvSpPr>
          <p:cNvPr id="65" name="Google Shape;65;p15"/>
          <p:cNvSpPr txBox="1">
            <a:spLocks noGrp="1"/>
          </p:cNvSpPr>
          <p:nvPr>
            <p:ph type="body" idx="1"/>
          </p:nvPr>
        </p:nvSpPr>
        <p:spPr>
          <a:xfrm>
            <a:off x="839788" y="1520825"/>
            <a:ext cx="10693600" cy="46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3238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048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15"/>
          <p:cNvSpPr txBox="1">
            <a:spLocks noGrp="1"/>
          </p:cNvSpPr>
          <p:nvPr>
            <p:ph type="ftr" idx="11"/>
          </p:nvPr>
        </p:nvSpPr>
        <p:spPr>
          <a:xfrm>
            <a:off x="6200667" y="6339812"/>
            <a:ext cx="41148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15"/>
          <p:cNvSpPr txBox="1">
            <a:spLocks noGrp="1"/>
          </p:cNvSpPr>
          <p:nvPr>
            <p:ph type="dt" idx="10"/>
          </p:nvPr>
        </p:nvSpPr>
        <p:spPr>
          <a:xfrm>
            <a:off x="10368000" y="6339811"/>
            <a:ext cx="10800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15"/>
          <p:cNvSpPr txBox="1">
            <a:spLocks noGrp="1"/>
          </p:cNvSpPr>
          <p:nvPr>
            <p:ph type="sldNum" idx="12"/>
          </p:nvPr>
        </p:nvSpPr>
        <p:spPr>
          <a:xfrm>
            <a:off x="11533188" y="6339811"/>
            <a:ext cx="323600" cy="1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|  </a:t>
            </a:r>
            <a:fld id="{00000000-1234-1234-1234-123412341234}" type="slidenum">
              <a:rPr lang="en-GB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pic>
        <p:nvPicPr>
          <p:cNvPr id="69" name="Google Shape;69;p15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10190300" y="549155"/>
            <a:ext cx="1525133" cy="5398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358954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8" r:id="rId15"/>
    <p:sldLayoutId id="2147483829" r:id="rId16"/>
    <p:sldLayoutId id="2147483830" r:id="rId17"/>
    <p:sldLayoutId id="2147483831" r:id="rId18"/>
    <p:sldLayoutId id="2147483833" r:id="rId19"/>
    <p:sldLayoutId id="2147483834" r:id="rId20"/>
    <p:sldLayoutId id="2147483835" r:id="rId21"/>
    <p:sldLayoutId id="2147483836" r:id="rId22"/>
    <p:sldLayoutId id="2147483837" r:id="rId23"/>
    <p:sldLayoutId id="2147483838" r:id="rId24"/>
    <p:sldLayoutId id="2147483839" r:id="rId2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9">
          <p15:clr>
            <a:srgbClr val="F26B43"/>
          </p15:clr>
        </p15:guide>
        <p15:guide id="2" pos="211">
          <p15:clr>
            <a:srgbClr val="F26B43"/>
          </p15:clr>
        </p15:guide>
        <p15:guide id="3" pos="7447">
          <p15:clr>
            <a:srgbClr val="F26B43"/>
          </p15:clr>
        </p15:guide>
        <p15:guide id="4" orient="horz" pos="4111">
          <p15:clr>
            <a:srgbClr val="F26B43"/>
          </p15:clr>
        </p15:guide>
        <p15:guide id="5" orient="horz" pos="753">
          <p15:clr>
            <a:srgbClr val="F26B43"/>
          </p15:clr>
        </p15:guide>
        <p15:guide id="6" orient="horz" pos="415">
          <p15:clr>
            <a:srgbClr val="F26B43"/>
          </p15:clr>
        </p15:guide>
        <p15:guide id="7" pos="7265">
          <p15:clr>
            <a:srgbClr val="F26B43"/>
          </p15:clr>
        </p15:guide>
        <p15:guide id="8" orient="horz" pos="3884">
          <p15:clr>
            <a:srgbClr val="F26B43"/>
          </p15:clr>
        </p15:guide>
        <p15:guide id="9" orient="horz" pos="3997">
          <p15:clr>
            <a:srgbClr val="F26B43"/>
          </p15:clr>
        </p15:guide>
        <p15:guide id="10" pos="7377">
          <p15:clr>
            <a:srgbClr val="F26B43"/>
          </p15:clr>
        </p15:guide>
        <p15:guide id="11" pos="529">
          <p15:clr>
            <a:srgbClr val="F26B43"/>
          </p15:clr>
        </p15:guide>
        <p15:guide id="12" orient="horz" pos="687">
          <p15:clr>
            <a:srgbClr val="F26B43"/>
          </p15:clr>
        </p15:guide>
        <p15:guide id="13" orient="horz" pos="959">
          <p15:clr>
            <a:srgbClr val="F26B43"/>
          </p15:clr>
        </p15:guide>
        <p15:guide id="14" orient="horz" pos="34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88A988C-8FC5-B140-870C-808D2E6BF37E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9790" y="667386"/>
            <a:ext cx="8447087" cy="6127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520826"/>
            <a:ext cx="10693400" cy="46380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E3656D3-FE2B-6A44-92B0-3F68D7B9A8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0667" y="6339812"/>
            <a:ext cx="4114800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ED4E42-D5D3-FC44-A366-76B79312A7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68000" y="6339811"/>
            <a:ext cx="1080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2DB7DE-CC3B-5147-AE8D-3109A1875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3189" y="6339811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| 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8500E30-7857-7640-A456-05EB959AEF0B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10190301" y="549156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689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  <p:sldLayoutId id="2147483855" r:id="rId15"/>
    <p:sldLayoutId id="2147483856" r:id="rId16"/>
    <p:sldLayoutId id="2147483857" r:id="rId17"/>
    <p:sldLayoutId id="2147483858" r:id="rId18"/>
    <p:sldLayoutId id="2147483859" r:id="rId19"/>
    <p:sldLayoutId id="2147483860" r:id="rId20"/>
    <p:sldLayoutId id="2147483861" r:id="rId21"/>
    <p:sldLayoutId id="2147483862" r:id="rId22"/>
    <p:sldLayoutId id="2147483863" r:id="rId23"/>
    <p:sldLayoutId id="2147483864" r:id="rId24"/>
    <p:sldLayoutId id="2147483865" r:id="rId25"/>
    <p:sldLayoutId id="2147483866" r:id="rId26"/>
    <p:sldLayoutId id="2147483867" r:id="rId27"/>
    <p:sldLayoutId id="2147483868" r:id="rId28"/>
    <p:sldLayoutId id="2147483869" r:id="rId29"/>
  </p:sldLayoutIdLst>
  <p:hf hdr="0" ft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970" indent="-18097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357179" indent="-176209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493701" indent="-13652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669909" indent="-136522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00080" indent="-130171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8">
          <p15:clr>
            <a:srgbClr val="F26B43"/>
          </p15:clr>
        </p15:guide>
        <p15:guide id="2" pos="158">
          <p15:clr>
            <a:srgbClr val="F26B43"/>
          </p15:clr>
        </p15:guide>
        <p15:guide id="3" pos="5585">
          <p15:clr>
            <a:srgbClr val="F26B43"/>
          </p15:clr>
        </p15:guide>
        <p15:guide id="4" orient="horz" pos="3083">
          <p15:clr>
            <a:srgbClr val="F26B43"/>
          </p15:clr>
        </p15:guide>
        <p15:guide id="6" orient="horz" pos="566">
          <p15:clr>
            <a:srgbClr val="F26B43"/>
          </p15:clr>
        </p15:guide>
        <p15:guide id="8" orient="horz" pos="311">
          <p15:clr>
            <a:srgbClr val="F26B43"/>
          </p15:clr>
        </p15:guide>
        <p15:guide id="9" pos="5449">
          <p15:clr>
            <a:srgbClr val="F26B43"/>
          </p15:clr>
        </p15:guide>
        <p15:guide id="10" orient="horz" pos="2913">
          <p15:clr>
            <a:srgbClr val="F26B43"/>
          </p15:clr>
        </p15:guide>
        <p15:guide id="11" orient="horz" pos="2998">
          <p15:clr>
            <a:srgbClr val="F26B43"/>
          </p15:clr>
        </p15:guide>
        <p15:guide id="12" pos="5534">
          <p15:clr>
            <a:srgbClr val="F26B43"/>
          </p15:clr>
        </p15:guide>
        <p15:guide id="13" pos="397">
          <p15:clr>
            <a:srgbClr val="F26B43"/>
          </p15:clr>
        </p15:guide>
        <p15:guide id="14" orient="horz" pos="515">
          <p15:clr>
            <a:srgbClr val="F26B43"/>
          </p15:clr>
        </p15:guide>
        <p15:guide id="15" orient="horz" pos="719">
          <p15:clr>
            <a:srgbClr val="F26B43"/>
          </p15:clr>
        </p15:guide>
        <p15:guide id="16" orient="horz" pos="2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Relationship Id="rId4" Type="http://schemas.openxmlformats.org/officeDocument/2006/relationships/hyperlink" Target="https://www.healthdatagateway.org/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12" Type="http://schemas.openxmlformats.org/officeDocument/2006/relationships/image" Target="../media/image61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55.sv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0" Type="http://schemas.openxmlformats.org/officeDocument/2006/relationships/image" Target="../media/image59.svg"/><Relationship Id="rId4" Type="http://schemas.openxmlformats.org/officeDocument/2006/relationships/image" Target="../media/image53.svg"/><Relationship Id="rId9" Type="http://schemas.openxmlformats.org/officeDocument/2006/relationships/image" Target="../media/image5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13" Type="http://schemas.openxmlformats.org/officeDocument/2006/relationships/image" Target="../media/image72.png"/><Relationship Id="rId18" Type="http://schemas.openxmlformats.org/officeDocument/2006/relationships/image" Target="../media/image77.png"/><Relationship Id="rId3" Type="http://schemas.openxmlformats.org/officeDocument/2006/relationships/image" Target="../media/image63.svg"/><Relationship Id="rId21" Type="http://schemas.openxmlformats.org/officeDocument/2006/relationships/image" Target="../media/image80.png"/><Relationship Id="rId7" Type="http://schemas.openxmlformats.org/officeDocument/2006/relationships/image" Target="../media/image66.png"/><Relationship Id="rId12" Type="http://schemas.openxmlformats.org/officeDocument/2006/relationships/image" Target="../media/image71.svg"/><Relationship Id="rId17" Type="http://schemas.openxmlformats.org/officeDocument/2006/relationships/image" Target="../media/image76.png"/><Relationship Id="rId2" Type="http://schemas.openxmlformats.org/officeDocument/2006/relationships/image" Target="../media/image62.png"/><Relationship Id="rId16" Type="http://schemas.openxmlformats.org/officeDocument/2006/relationships/image" Target="../media/image75.svg"/><Relationship Id="rId20" Type="http://schemas.openxmlformats.org/officeDocument/2006/relationships/image" Target="../media/image79.sv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65.svg"/><Relationship Id="rId11" Type="http://schemas.openxmlformats.org/officeDocument/2006/relationships/image" Target="../media/image70.png"/><Relationship Id="rId5" Type="http://schemas.openxmlformats.org/officeDocument/2006/relationships/image" Target="../media/image64.png"/><Relationship Id="rId15" Type="http://schemas.openxmlformats.org/officeDocument/2006/relationships/image" Target="../media/image74.png"/><Relationship Id="rId10" Type="http://schemas.openxmlformats.org/officeDocument/2006/relationships/image" Target="../media/image69.svg"/><Relationship Id="rId19" Type="http://schemas.openxmlformats.org/officeDocument/2006/relationships/image" Target="../media/image78.png"/><Relationship Id="rId4" Type="http://schemas.openxmlformats.org/officeDocument/2006/relationships/image" Target="../media/image51.png"/><Relationship Id="rId9" Type="http://schemas.openxmlformats.org/officeDocument/2006/relationships/image" Target="../media/image68.png"/><Relationship Id="rId14" Type="http://schemas.openxmlformats.org/officeDocument/2006/relationships/image" Target="../media/image73.svg"/><Relationship Id="rId22" Type="http://schemas.openxmlformats.org/officeDocument/2006/relationships/image" Target="../media/image81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hyperlink" Target="https://www.linkedin.com/pulse/transforming-data-enabled-research-landscape-england-bloomfield/" TargetMode="External"/><Relationship Id="rId1" Type="http://schemas.openxmlformats.org/officeDocument/2006/relationships/slideLayout" Target="../slideLayouts/slideLayout6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6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6.xml"/><Relationship Id="rId4" Type="http://schemas.openxmlformats.org/officeDocument/2006/relationships/hyperlink" Target="https://www.youtube.com/watch?v=yvFrnbXlqRk&amp;embeds_referring_euri=https%3A%2F%2Fwww.healthdatagateway.org%2F&amp;feature=emb_imp_woyt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7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F83E1-5FFF-AF01-E74D-6C2BBF80D0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nhancing the researcher health data discovery journey through research project feasibility analysis using the Gateway Cohort Discovery tool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64266C-1626-908C-AD03-B8FD490BB9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8CIR data and access virtual event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FC3788-2604-9BC5-2CF8-A5919C22B2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27767" y="5980112"/>
            <a:ext cx="6077484" cy="216000"/>
          </a:xfrm>
        </p:spPr>
        <p:txBody>
          <a:bodyPr>
            <a:noAutofit/>
          </a:bodyPr>
          <a:lstStyle/>
          <a:p>
            <a:r>
              <a:rPr lang="en-GB" sz="1700" dirty="0" err="1"/>
              <a:t>Dr.</a:t>
            </a:r>
            <a:r>
              <a:rPr lang="en-GB" sz="1700" dirty="0"/>
              <a:t>  Isaac Odiase</a:t>
            </a:r>
          </a:p>
          <a:p>
            <a:endParaRPr lang="en-GB" sz="1700" dirty="0"/>
          </a:p>
        </p:txBody>
      </p:sp>
    </p:spTree>
    <p:extLst>
      <p:ext uri="{BB962C8B-B14F-4D97-AF65-F5344CB8AC3E}">
        <p14:creationId xmlns:p14="http://schemas.microsoft.com/office/powerpoint/2010/main" val="39788455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A2F88-4CF7-8A99-689B-38009CF33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The Gateway</a:t>
            </a:r>
            <a:endParaRPr lang="en-GB" sz="4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3BC3DF-F7CB-CC03-FBCC-ADBDB3AF60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D67192-8F4D-BE89-F15C-B20D1E6FEA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269" y="1538028"/>
            <a:ext cx="10137231" cy="448811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99DA077-2F4D-F88D-BDAD-6AA48203F5F4}"/>
              </a:ext>
            </a:extLst>
          </p:cNvPr>
          <p:cNvSpPr txBox="1"/>
          <p:nvPr/>
        </p:nvSpPr>
        <p:spPr>
          <a:xfrm>
            <a:off x="1874838" y="6214837"/>
            <a:ext cx="86233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>
                <a:hlinkClick r:id="rId4"/>
              </a:rPr>
              <a:t>HDRUK Innovation Gateway | Homepage (healthdatagateway.org)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9759415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E20462-22F3-A381-802F-EF29FE2EF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The current Gateway (Mk1)</a:t>
            </a:r>
            <a:endParaRPr lang="en-GB" sz="4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26D34A-7A7A-AA82-A967-E492EEBF7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25000"/>
            <a:ext cx="10693600" cy="463800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0270847-2296-B902-DE69-4A6EAB608393}"/>
              </a:ext>
            </a:extLst>
          </p:cNvPr>
          <p:cNvSpPr txBox="1"/>
          <p:nvPr/>
        </p:nvSpPr>
        <p:spPr>
          <a:xfrm>
            <a:off x="895131" y="2819463"/>
            <a:ext cx="2996343" cy="442674"/>
          </a:xfrm>
          <a:prstGeom prst="roundRect">
            <a:avLst/>
          </a:prstGeom>
          <a:solidFill>
            <a:srgbClr val="475DA7">
              <a:lumMod val="50000"/>
            </a:srgb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</a:rPr>
              <a:t>Data Discovery: Metadata 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6362BCA-D1F3-12C5-3A08-0E24CE445D3B}"/>
              </a:ext>
            </a:extLst>
          </p:cNvPr>
          <p:cNvGrpSpPr/>
          <p:nvPr/>
        </p:nvGrpSpPr>
        <p:grpSpPr>
          <a:xfrm>
            <a:off x="3657580" y="3893319"/>
            <a:ext cx="4876839" cy="2685414"/>
            <a:chOff x="88823" y="1324708"/>
            <a:chExt cx="9132278" cy="4928872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255F938-684A-274B-140A-A33DB830FCDF}"/>
                </a:ext>
              </a:extLst>
            </p:cNvPr>
            <p:cNvSpPr/>
            <p:nvPr/>
          </p:nvSpPr>
          <p:spPr>
            <a:xfrm>
              <a:off x="495910" y="1324708"/>
              <a:ext cx="8447086" cy="775559"/>
            </a:xfrm>
            <a:prstGeom prst="roundRect">
              <a:avLst/>
            </a:prstGeom>
            <a:solidFill>
              <a:srgbClr val="FFFFFF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8925BA0-50ED-3CC9-7337-BC3293B1FC6D}"/>
                </a:ext>
              </a:extLst>
            </p:cNvPr>
            <p:cNvSpPr/>
            <p:nvPr/>
          </p:nvSpPr>
          <p:spPr>
            <a:xfrm>
              <a:off x="8100346" y="1324708"/>
              <a:ext cx="973015" cy="4822127"/>
            </a:xfrm>
            <a:prstGeom prst="roundRect">
              <a:avLst/>
            </a:prstGeom>
            <a:solidFill>
              <a:srgbClr val="FFFFFF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C7DF0E7D-2870-2931-F5A3-5A430298335B}"/>
                </a:ext>
              </a:extLst>
            </p:cNvPr>
            <p:cNvSpPr/>
            <p:nvPr/>
          </p:nvSpPr>
          <p:spPr>
            <a:xfrm>
              <a:off x="248386" y="1324708"/>
              <a:ext cx="973015" cy="4822127"/>
            </a:xfrm>
            <a:prstGeom prst="roundRect">
              <a:avLst/>
            </a:prstGeom>
            <a:solidFill>
              <a:srgbClr val="FFFFFF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0B6CDB3-0576-9AF6-BDE3-AE53861375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26809" y="1512295"/>
              <a:ext cx="8338468" cy="4195704"/>
            </a:xfrm>
            <a:prstGeom prst="rect">
              <a:avLst/>
            </a:prstGeom>
            <a:ln w="38100">
              <a:solidFill>
                <a:srgbClr val="FFFFFF">
                  <a:lumMod val="65000"/>
                </a:srgbClr>
              </a:solidFill>
            </a:ln>
          </p:spPr>
        </p:pic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8DD79176-0F06-A19D-5B1A-4C0BE476EE30}"/>
                </a:ext>
              </a:extLst>
            </p:cNvPr>
            <p:cNvSpPr/>
            <p:nvPr/>
          </p:nvSpPr>
          <p:spPr>
            <a:xfrm rot="16200000">
              <a:off x="4434194" y="1466674"/>
              <a:ext cx="441535" cy="9132278"/>
            </a:xfrm>
            <a:prstGeom prst="roundRect">
              <a:avLst/>
            </a:prstGeom>
            <a:gradFill flip="none" rotWithShape="1">
              <a:gsLst>
                <a:gs pos="0">
                  <a:srgbClr val="3C3C3B">
                    <a:lumMod val="5000"/>
                    <a:lumOff val="95000"/>
                  </a:srgbClr>
                </a:gs>
                <a:gs pos="74000">
                  <a:srgbClr val="3C3C3B">
                    <a:lumMod val="45000"/>
                    <a:lumOff val="55000"/>
                  </a:srgbClr>
                </a:gs>
                <a:gs pos="83000">
                  <a:srgbClr val="3C3C3B">
                    <a:lumMod val="45000"/>
                    <a:lumOff val="55000"/>
                  </a:srgbClr>
                </a:gs>
                <a:gs pos="100000">
                  <a:srgbClr val="3C3C3B">
                    <a:lumMod val="30000"/>
                    <a:lumOff val="70000"/>
                  </a:srgb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CF08CF7-867E-A336-566D-A12CDF52347B}"/>
                </a:ext>
              </a:extLst>
            </p:cNvPr>
            <p:cNvSpPr/>
            <p:nvPr/>
          </p:nvSpPr>
          <p:spPr>
            <a:xfrm>
              <a:off x="307656" y="5768780"/>
              <a:ext cx="8694610" cy="64425"/>
            </a:xfrm>
            <a:prstGeom prst="rect">
              <a:avLst/>
            </a:prstGeom>
            <a:solidFill>
              <a:srgbClr val="000000"/>
            </a:solidFill>
            <a:ln w="12700" cap="flat" cmpd="sng" algn="ctr">
              <a:solidFill>
                <a:srgbClr val="475DA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89C9F779-F8AA-399A-0527-4FE3A88F5042}"/>
                </a:ext>
              </a:extLst>
            </p:cNvPr>
            <p:cNvSpPr/>
            <p:nvPr/>
          </p:nvSpPr>
          <p:spPr>
            <a:xfrm>
              <a:off x="4562231" y="1344542"/>
              <a:ext cx="93785" cy="82062"/>
            </a:xfrm>
            <a:prstGeom prst="ellipse">
              <a:avLst/>
            </a:prstGeom>
            <a:solidFill>
              <a:srgbClr val="000000">
                <a:lumMod val="50000"/>
                <a:lumOff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A141086-96E9-5D86-D7D5-1F2D19AB1D0A}"/>
              </a:ext>
            </a:extLst>
          </p:cNvPr>
          <p:cNvSpPr txBox="1"/>
          <p:nvPr/>
        </p:nvSpPr>
        <p:spPr>
          <a:xfrm>
            <a:off x="4642467" y="1656807"/>
            <a:ext cx="2996343" cy="1123712"/>
          </a:xfrm>
          <a:prstGeom prst="roundRect">
            <a:avLst/>
          </a:prstGeom>
          <a:solidFill>
            <a:srgbClr val="475DA7">
              <a:lumMod val="40000"/>
              <a:lumOff val="6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rPr>
              <a:t>Data Access Requests (DAR): Enquiries, Application &amp; Approvals  </a:t>
            </a: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4E4953-A29B-5E93-6439-A7D525719A91}"/>
              </a:ext>
            </a:extLst>
          </p:cNvPr>
          <p:cNvSpPr txBox="1"/>
          <p:nvPr/>
        </p:nvSpPr>
        <p:spPr>
          <a:xfrm>
            <a:off x="524363" y="4985610"/>
            <a:ext cx="2996343" cy="783193"/>
          </a:xfrm>
          <a:prstGeom prst="roundRect">
            <a:avLst/>
          </a:prstGeom>
          <a:solidFill>
            <a:srgbClr val="475DA7">
              <a:lumMod val="40000"/>
              <a:lumOff val="6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rPr>
              <a:t>Data Discovery: Cohort Discovery Tool</a:t>
            </a: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66680B4-D49B-BA7D-26BD-1133870D94B1}"/>
              </a:ext>
            </a:extLst>
          </p:cNvPr>
          <p:cNvSpPr txBox="1"/>
          <p:nvPr/>
        </p:nvSpPr>
        <p:spPr>
          <a:xfrm>
            <a:off x="8679671" y="2778273"/>
            <a:ext cx="2996343" cy="1123712"/>
          </a:xfrm>
          <a:prstGeom prst="roundRect">
            <a:avLst/>
          </a:prstGeom>
          <a:solidFill>
            <a:srgbClr val="475DA7">
              <a:lumMod val="50000"/>
            </a:srgb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</a:rPr>
              <a:t>Data Use Register: Transparency on use of data: </a:t>
            </a:r>
            <a:endParaRPr kumimoji="0" lang="en-GB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A06F3C-8682-CB06-B673-0634946FB52C}"/>
              </a:ext>
            </a:extLst>
          </p:cNvPr>
          <p:cNvSpPr txBox="1"/>
          <p:nvPr/>
        </p:nvSpPr>
        <p:spPr>
          <a:xfrm>
            <a:off x="8974716" y="4762838"/>
            <a:ext cx="2996343" cy="1123712"/>
          </a:xfrm>
          <a:prstGeom prst="roundRect">
            <a:avLst/>
          </a:prstGeom>
          <a:solidFill>
            <a:srgbClr val="475DA7">
              <a:lumMod val="40000"/>
              <a:lumOff val="6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rPr>
              <a:t>Data Discovery: Collections, Tools, Publications</a:t>
            </a: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65A81F1-931A-37DE-ED5B-EF067ECE1BE7}"/>
              </a:ext>
            </a:extLst>
          </p:cNvPr>
          <p:cNvSpPr/>
          <p:nvPr/>
        </p:nvSpPr>
        <p:spPr>
          <a:xfrm>
            <a:off x="322707" y="2324065"/>
            <a:ext cx="723152" cy="697812"/>
          </a:xfrm>
          <a:prstGeom prst="ellipse">
            <a:avLst/>
          </a:prstGeom>
          <a:solidFill>
            <a:srgbClr val="3CB28C"/>
          </a:solidFill>
          <a:ln w="12700" cap="flat" cmpd="sng" algn="ctr">
            <a:solidFill>
              <a:srgbClr val="475DA7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" name="Graphic 17" descr="Magnifying glass with solid fill">
            <a:extLst>
              <a:ext uri="{FF2B5EF4-FFF2-40B4-BE49-F238E27FC236}">
                <a16:creationId xmlns:a16="http://schemas.microsoft.com/office/drawing/2014/main" id="{D6BB673D-9446-16F1-5651-4F604E7299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7363" y="2399111"/>
            <a:ext cx="553839" cy="547720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06D2C3D7-FDA2-3539-5D43-A222EC57C821}"/>
              </a:ext>
            </a:extLst>
          </p:cNvPr>
          <p:cNvSpPr/>
          <p:nvPr/>
        </p:nvSpPr>
        <p:spPr>
          <a:xfrm>
            <a:off x="96696" y="4626882"/>
            <a:ext cx="723152" cy="697812"/>
          </a:xfrm>
          <a:prstGeom prst="ellipse">
            <a:avLst/>
          </a:prstGeom>
          <a:solidFill>
            <a:srgbClr val="E66400"/>
          </a:solidFill>
          <a:ln w="12700" cap="flat" cmpd="sng" algn="ctr">
            <a:solidFill>
              <a:srgbClr val="475DA7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Graphic 19" descr="Lighthouse scene outline">
            <a:extLst>
              <a:ext uri="{FF2B5EF4-FFF2-40B4-BE49-F238E27FC236}">
                <a16:creationId xmlns:a16="http://schemas.microsoft.com/office/drawing/2014/main" id="{2F744294-593D-0174-0058-94119FA4330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8508" r="18565" b="45522"/>
          <a:stretch/>
        </p:blipFill>
        <p:spPr>
          <a:xfrm>
            <a:off x="140653" y="4703993"/>
            <a:ext cx="635238" cy="549958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342009AB-3EBE-5502-29FB-F1D86108ABE9}"/>
              </a:ext>
            </a:extLst>
          </p:cNvPr>
          <p:cNvSpPr/>
          <p:nvPr/>
        </p:nvSpPr>
        <p:spPr>
          <a:xfrm>
            <a:off x="4178150" y="1225528"/>
            <a:ext cx="723152" cy="697812"/>
          </a:xfrm>
          <a:prstGeom prst="ellipse">
            <a:avLst/>
          </a:prstGeom>
          <a:solidFill>
            <a:srgbClr val="475DA7"/>
          </a:solidFill>
          <a:ln w="12700" cap="flat" cmpd="sng" algn="ctr">
            <a:solidFill>
              <a:srgbClr val="475DA7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" name="Graphic 21" descr="Lock with solid fill">
            <a:extLst>
              <a:ext uri="{FF2B5EF4-FFF2-40B4-BE49-F238E27FC236}">
                <a16:creationId xmlns:a16="http://schemas.microsoft.com/office/drawing/2014/main" id="{D6D655C4-8BEA-B887-796F-5C37E8CE1B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09495" y="1236462"/>
            <a:ext cx="660461" cy="660461"/>
          </a:xfrm>
          <a:prstGeom prst="rect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563ABD2B-E50A-17F3-6C9A-EC5408593D6C}"/>
              </a:ext>
            </a:extLst>
          </p:cNvPr>
          <p:cNvSpPr/>
          <p:nvPr/>
        </p:nvSpPr>
        <p:spPr>
          <a:xfrm>
            <a:off x="8300528" y="2296377"/>
            <a:ext cx="723152" cy="697812"/>
          </a:xfrm>
          <a:prstGeom prst="ellipse">
            <a:avLst/>
          </a:prstGeom>
          <a:solidFill>
            <a:srgbClr val="E66400"/>
          </a:solidFill>
          <a:ln w="12700" cap="flat" cmpd="sng" algn="ctr">
            <a:solidFill>
              <a:srgbClr val="475DA7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4" name="Graphic 23" descr="Ribbon outline">
            <a:extLst>
              <a:ext uri="{FF2B5EF4-FFF2-40B4-BE49-F238E27FC236}">
                <a16:creationId xmlns:a16="http://schemas.microsoft.com/office/drawing/2014/main" id="{09A1E7B9-3177-C4BC-0734-D59B29CFA57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61941" y="2334061"/>
            <a:ext cx="612775" cy="612775"/>
          </a:xfrm>
          <a:prstGeom prst="rect">
            <a:avLst/>
          </a:prstGeom>
        </p:spPr>
      </p:pic>
      <p:sp>
        <p:nvSpPr>
          <p:cNvPr id="25" name="Oval 24">
            <a:extLst>
              <a:ext uri="{FF2B5EF4-FFF2-40B4-BE49-F238E27FC236}">
                <a16:creationId xmlns:a16="http://schemas.microsoft.com/office/drawing/2014/main" id="{D3688632-EA5D-BD78-4663-F436C41C0D71}"/>
              </a:ext>
            </a:extLst>
          </p:cNvPr>
          <p:cNvSpPr/>
          <p:nvPr/>
        </p:nvSpPr>
        <p:spPr>
          <a:xfrm>
            <a:off x="8749701" y="4425731"/>
            <a:ext cx="723152" cy="697812"/>
          </a:xfrm>
          <a:prstGeom prst="ellipse">
            <a:avLst/>
          </a:prstGeom>
          <a:solidFill>
            <a:srgbClr val="3CB28C"/>
          </a:solidFill>
          <a:ln w="12700" cap="flat" cmpd="sng" algn="ctr">
            <a:solidFill>
              <a:srgbClr val="475DA7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" name="Graphic 25" descr="Wrench with solid fill">
            <a:extLst>
              <a:ext uri="{FF2B5EF4-FFF2-40B4-BE49-F238E27FC236}">
                <a16:creationId xmlns:a16="http://schemas.microsoft.com/office/drawing/2014/main" id="{0A6539FB-8A26-B899-E6AE-7C0D301DB3C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863594" y="4534890"/>
            <a:ext cx="495366" cy="495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9894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BEF66-7354-DB94-BB56-2154E5BDB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Gateway Mk2 – enhanced features</a:t>
            </a:r>
            <a:endParaRPr lang="en-GB" sz="4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5AC8C6-935E-3EDA-FB53-1B46BD279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86088" y="1520825"/>
            <a:ext cx="10693600" cy="4638000"/>
          </a:xfrm>
        </p:spPr>
        <p:txBody>
          <a:bodyPr/>
          <a:lstStyle/>
          <a:p>
            <a:endParaRPr lang="en-GB"/>
          </a:p>
        </p:txBody>
      </p:sp>
      <p:pic>
        <p:nvPicPr>
          <p:cNvPr id="4" name="Graphic 3" descr="Document with solid fill">
            <a:extLst>
              <a:ext uri="{FF2B5EF4-FFF2-40B4-BE49-F238E27FC236}">
                <a16:creationId xmlns:a16="http://schemas.microsoft.com/office/drawing/2014/main" id="{E8483CE4-1A9A-1BB0-8F34-7BF7C29966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30445" y="5229657"/>
            <a:ext cx="637528" cy="63752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E7C5EC1C-C071-DF89-CE8C-5E3CC2EA081F}"/>
              </a:ext>
            </a:extLst>
          </p:cNvPr>
          <p:cNvGrpSpPr/>
          <p:nvPr/>
        </p:nvGrpSpPr>
        <p:grpSpPr>
          <a:xfrm>
            <a:off x="3703880" y="3765723"/>
            <a:ext cx="4876839" cy="2685414"/>
            <a:chOff x="88823" y="1324708"/>
            <a:chExt cx="9132278" cy="4928872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9F27424F-A74B-9C41-FDB7-E93AEE8FC6F5}"/>
                </a:ext>
              </a:extLst>
            </p:cNvPr>
            <p:cNvSpPr/>
            <p:nvPr/>
          </p:nvSpPr>
          <p:spPr>
            <a:xfrm>
              <a:off x="495910" y="1324708"/>
              <a:ext cx="8447086" cy="775559"/>
            </a:xfrm>
            <a:prstGeom prst="roundRect">
              <a:avLst/>
            </a:prstGeom>
            <a:solidFill>
              <a:srgbClr val="FFFFFF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048D6E18-42AF-9580-B781-72193F1F738B}"/>
                </a:ext>
              </a:extLst>
            </p:cNvPr>
            <p:cNvSpPr/>
            <p:nvPr/>
          </p:nvSpPr>
          <p:spPr>
            <a:xfrm>
              <a:off x="8100346" y="1324708"/>
              <a:ext cx="973015" cy="4822127"/>
            </a:xfrm>
            <a:prstGeom prst="roundRect">
              <a:avLst/>
            </a:prstGeom>
            <a:solidFill>
              <a:srgbClr val="FFFFFF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71FCAE3-78C7-C62D-44B8-68FDBACEA619}"/>
                </a:ext>
              </a:extLst>
            </p:cNvPr>
            <p:cNvSpPr/>
            <p:nvPr/>
          </p:nvSpPr>
          <p:spPr>
            <a:xfrm>
              <a:off x="248386" y="1324708"/>
              <a:ext cx="973015" cy="4822127"/>
            </a:xfrm>
            <a:prstGeom prst="roundRect">
              <a:avLst/>
            </a:prstGeom>
            <a:solidFill>
              <a:srgbClr val="FFFFFF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27F015F-DBC8-184A-518C-A8037D2CFD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6809" y="1512295"/>
              <a:ext cx="8338468" cy="4195704"/>
            </a:xfrm>
            <a:prstGeom prst="rect">
              <a:avLst/>
            </a:prstGeom>
            <a:ln w="38100">
              <a:solidFill>
                <a:srgbClr val="FFFFFF">
                  <a:lumMod val="65000"/>
                </a:srgbClr>
              </a:solidFill>
            </a:ln>
          </p:spPr>
        </p:pic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DFED00A8-9482-55C2-78D2-04CF1254568D}"/>
                </a:ext>
              </a:extLst>
            </p:cNvPr>
            <p:cNvSpPr/>
            <p:nvPr/>
          </p:nvSpPr>
          <p:spPr>
            <a:xfrm rot="16200000">
              <a:off x="4434194" y="1466674"/>
              <a:ext cx="441535" cy="9132278"/>
            </a:xfrm>
            <a:prstGeom prst="roundRect">
              <a:avLst/>
            </a:prstGeom>
            <a:gradFill flip="none" rotWithShape="1">
              <a:gsLst>
                <a:gs pos="0">
                  <a:srgbClr val="3C3C3B">
                    <a:lumMod val="5000"/>
                    <a:lumOff val="95000"/>
                  </a:srgbClr>
                </a:gs>
                <a:gs pos="74000">
                  <a:srgbClr val="3C3C3B">
                    <a:lumMod val="45000"/>
                    <a:lumOff val="55000"/>
                  </a:srgbClr>
                </a:gs>
                <a:gs pos="83000">
                  <a:srgbClr val="3C3C3B">
                    <a:lumMod val="45000"/>
                    <a:lumOff val="55000"/>
                  </a:srgbClr>
                </a:gs>
                <a:gs pos="100000">
                  <a:srgbClr val="3C3C3B">
                    <a:lumMod val="30000"/>
                    <a:lumOff val="70000"/>
                  </a:srgbClr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A5CBB70-DE79-7510-F1BE-F8237986E832}"/>
                </a:ext>
              </a:extLst>
            </p:cNvPr>
            <p:cNvSpPr/>
            <p:nvPr/>
          </p:nvSpPr>
          <p:spPr>
            <a:xfrm>
              <a:off x="307656" y="5768780"/>
              <a:ext cx="8694610" cy="64425"/>
            </a:xfrm>
            <a:prstGeom prst="rect">
              <a:avLst/>
            </a:prstGeom>
            <a:solidFill>
              <a:srgbClr val="000000"/>
            </a:solidFill>
            <a:ln w="12700" cap="flat" cmpd="sng" algn="ctr">
              <a:solidFill>
                <a:srgbClr val="475DA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64A1490-A2F8-C633-F0A3-AAAB89F8CF0B}"/>
                </a:ext>
              </a:extLst>
            </p:cNvPr>
            <p:cNvSpPr/>
            <p:nvPr/>
          </p:nvSpPr>
          <p:spPr>
            <a:xfrm>
              <a:off x="4562231" y="1344542"/>
              <a:ext cx="93785" cy="82062"/>
            </a:xfrm>
            <a:prstGeom prst="ellipse">
              <a:avLst/>
            </a:prstGeom>
            <a:solidFill>
              <a:srgbClr val="000000">
                <a:lumMod val="50000"/>
                <a:lumOff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D57B62F2-A648-2298-FC26-B47F3FBAE47F}"/>
              </a:ext>
            </a:extLst>
          </p:cNvPr>
          <p:cNvSpPr txBox="1"/>
          <p:nvPr/>
        </p:nvSpPr>
        <p:spPr>
          <a:xfrm>
            <a:off x="7204765" y="3041259"/>
            <a:ext cx="28575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rgbClr val="000000"/>
                </a:solidFill>
                <a:latin typeface="Calibri" panose="020F0502020204030204"/>
              </a:rPr>
              <a:t>Sign-posting </a:t>
            </a:r>
            <a:endParaRPr lang="en-GB" sz="2000" b="1" dirty="0" err="1">
              <a:solidFill>
                <a:srgbClr val="000000"/>
              </a:solidFill>
              <a:latin typeface="Calibri" panose="020F0502020204030204"/>
            </a:endParaRPr>
          </a:p>
        </p:txBody>
      </p:sp>
      <p:pic>
        <p:nvPicPr>
          <p:cNvPr id="14" name="Graphic 13" descr="Signpost outline">
            <a:extLst>
              <a:ext uri="{FF2B5EF4-FFF2-40B4-BE49-F238E27FC236}">
                <a16:creationId xmlns:a16="http://schemas.microsoft.com/office/drawing/2014/main" id="{385B34B7-779E-DA5D-32D6-0991E402D7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63220" y="1882128"/>
            <a:ext cx="1100637" cy="110063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438A81C-B90E-30D9-F334-05570D7F48DF}"/>
              </a:ext>
            </a:extLst>
          </p:cNvPr>
          <p:cNvSpPr txBox="1"/>
          <p:nvPr/>
        </p:nvSpPr>
        <p:spPr>
          <a:xfrm>
            <a:off x="5606357" y="3058741"/>
            <a:ext cx="28575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rgbClr val="000000"/>
                </a:solidFill>
                <a:latin typeface="Calibri" panose="020F0502020204030204"/>
              </a:rPr>
              <a:t>Brandable</a:t>
            </a:r>
            <a:endParaRPr lang="en-GB" sz="2000" b="1" dirty="0" err="1">
              <a:solidFill>
                <a:srgbClr val="000000"/>
              </a:solidFill>
              <a:latin typeface="Calibri" panose="020F0502020204030204"/>
            </a:endParaRPr>
          </a:p>
        </p:txBody>
      </p:sp>
      <p:pic>
        <p:nvPicPr>
          <p:cNvPr id="16" name="Graphic 15" descr="Megaphone with solid fill">
            <a:extLst>
              <a:ext uri="{FF2B5EF4-FFF2-40B4-BE49-F238E27FC236}">
                <a16:creationId xmlns:a16="http://schemas.microsoft.com/office/drawing/2014/main" id="{A0901647-7604-8DE5-ED9E-D2FE3BE4208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38604" y="2035228"/>
            <a:ext cx="914400" cy="914400"/>
          </a:xfrm>
          <a:prstGeom prst="rect">
            <a:avLst/>
          </a:prstGeom>
        </p:spPr>
      </p:pic>
      <p:pic>
        <p:nvPicPr>
          <p:cNvPr id="17" name="Graphic 16" descr="Search Inventory with solid fill">
            <a:extLst>
              <a:ext uri="{FF2B5EF4-FFF2-40B4-BE49-F238E27FC236}">
                <a16:creationId xmlns:a16="http://schemas.microsoft.com/office/drawing/2014/main" id="{3AF97E16-53C7-87AC-5B6A-921DE15C9B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63893" y="2144341"/>
            <a:ext cx="914400" cy="9144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13EE307-22A3-1C03-B2D5-A69231E97BA3}"/>
              </a:ext>
            </a:extLst>
          </p:cNvPr>
          <p:cNvSpPr txBox="1"/>
          <p:nvPr/>
        </p:nvSpPr>
        <p:spPr>
          <a:xfrm>
            <a:off x="3160736" y="3044476"/>
            <a:ext cx="25742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rgbClr val="000000"/>
                </a:solidFill>
                <a:latin typeface="Calibri" panose="020F0502020204030204"/>
              </a:rPr>
              <a:t>Advanced Search</a:t>
            </a:r>
            <a:endParaRPr lang="en-GB" sz="2000" b="1" dirty="0" err="1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5EE26A-4163-489D-5B5F-3ACFCCCC2531}"/>
              </a:ext>
            </a:extLst>
          </p:cNvPr>
          <p:cNvSpPr txBox="1"/>
          <p:nvPr/>
        </p:nvSpPr>
        <p:spPr>
          <a:xfrm>
            <a:off x="1409377" y="4550970"/>
            <a:ext cx="22618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000000"/>
                </a:solidFill>
                <a:latin typeface="Calibri" panose="020F0502020204030204"/>
              </a:rPr>
              <a:t>End to End Researcher Journey</a:t>
            </a:r>
            <a:endParaRPr lang="en-GB" sz="2000" b="1" dirty="0" err="1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C5F9266-BEC1-F780-EAFB-C6AED6142951}"/>
              </a:ext>
            </a:extLst>
          </p:cNvPr>
          <p:cNvSpPr txBox="1"/>
          <p:nvPr/>
        </p:nvSpPr>
        <p:spPr>
          <a:xfrm>
            <a:off x="8600637" y="4648699"/>
            <a:ext cx="21840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000000"/>
                </a:solidFill>
                <a:latin typeface="Calibri" panose="020F0502020204030204"/>
              </a:rPr>
              <a:t>Additional Data Types</a:t>
            </a:r>
            <a:endParaRPr lang="en-GB" sz="2000" b="1" dirty="0" err="1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CC2068E-9BC7-9B99-205F-3A98C8E5C2E2}"/>
              </a:ext>
            </a:extLst>
          </p:cNvPr>
          <p:cNvSpPr txBox="1"/>
          <p:nvPr/>
        </p:nvSpPr>
        <p:spPr>
          <a:xfrm>
            <a:off x="1510729" y="6041236"/>
            <a:ext cx="22992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000000"/>
                </a:solidFill>
                <a:latin typeface="Calibri" panose="020F0502020204030204"/>
              </a:rPr>
              <a:t>Multiple metadata standards</a:t>
            </a:r>
            <a:endParaRPr lang="en-GB" sz="2000" b="1" dirty="0" err="1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5C241FE-E11A-DD3E-A65B-204D13DD1F13}"/>
              </a:ext>
            </a:extLst>
          </p:cNvPr>
          <p:cNvSpPr txBox="1"/>
          <p:nvPr/>
        </p:nvSpPr>
        <p:spPr>
          <a:xfrm>
            <a:off x="8380640" y="6022048"/>
            <a:ext cx="24953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000000"/>
                </a:solidFill>
                <a:latin typeface="Calibri" panose="020F0502020204030204"/>
              </a:rPr>
              <a:t>International exposure</a:t>
            </a:r>
            <a:endParaRPr lang="en-GB" sz="2000" b="1" dirty="0" err="1">
              <a:solidFill>
                <a:srgbClr val="000000"/>
              </a:solidFill>
              <a:latin typeface="Calibri" panose="020F0502020204030204"/>
            </a:endParaRPr>
          </a:p>
        </p:txBody>
      </p:sp>
      <p:pic>
        <p:nvPicPr>
          <p:cNvPr id="23" name="Graphic 22" descr="Circular flowchart with solid fill">
            <a:extLst>
              <a:ext uri="{FF2B5EF4-FFF2-40B4-BE49-F238E27FC236}">
                <a16:creationId xmlns:a16="http://schemas.microsoft.com/office/drawing/2014/main" id="{052C8E14-5D67-C072-CA56-D46AEFE1B0C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31121" y="3636570"/>
            <a:ext cx="914400" cy="914400"/>
          </a:xfrm>
          <a:prstGeom prst="rect">
            <a:avLst/>
          </a:prstGeom>
        </p:spPr>
      </p:pic>
      <p:pic>
        <p:nvPicPr>
          <p:cNvPr id="24" name="Graphic 23" descr="DNA with solid fill">
            <a:extLst>
              <a:ext uri="{FF2B5EF4-FFF2-40B4-BE49-F238E27FC236}">
                <a16:creationId xmlns:a16="http://schemas.microsoft.com/office/drawing/2014/main" id="{8537B647-5DA3-7386-DE72-773E093303D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604943" y="3575903"/>
            <a:ext cx="914400" cy="914400"/>
          </a:xfrm>
          <a:prstGeom prst="rect">
            <a:avLst/>
          </a:prstGeom>
        </p:spPr>
      </p:pic>
      <p:pic>
        <p:nvPicPr>
          <p:cNvPr id="25" name="Graphic 24" descr="Brain outline">
            <a:extLst>
              <a:ext uri="{FF2B5EF4-FFF2-40B4-BE49-F238E27FC236}">
                <a16:creationId xmlns:a16="http://schemas.microsoft.com/office/drawing/2014/main" id="{0A6D7071-A8F2-3775-668C-B0745DE2C79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426772" y="3583684"/>
            <a:ext cx="914400" cy="9144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17322E50-B77F-2E2A-9ADC-48D32E404B19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600637" y="5297580"/>
            <a:ext cx="857256" cy="400053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5B00F7E-7F30-9EE4-29F7-FBFDAE6BF705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45705" y="5507200"/>
            <a:ext cx="1383132" cy="617157"/>
          </a:xfrm>
          <a:prstGeom prst="rect">
            <a:avLst/>
          </a:prstGeom>
        </p:spPr>
      </p:pic>
      <p:pic>
        <p:nvPicPr>
          <p:cNvPr id="28" name="Graphic 27" descr="Document with solid fill">
            <a:extLst>
              <a:ext uri="{FF2B5EF4-FFF2-40B4-BE49-F238E27FC236}">
                <a16:creationId xmlns:a16="http://schemas.microsoft.com/office/drawing/2014/main" id="{D9AFA69C-55B2-99D8-93B7-6980EC64BF4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924713" y="5460128"/>
            <a:ext cx="664229" cy="664229"/>
          </a:xfrm>
          <a:prstGeom prst="rect">
            <a:avLst/>
          </a:prstGeom>
        </p:spPr>
      </p:pic>
      <p:pic>
        <p:nvPicPr>
          <p:cNvPr id="29" name="Graphic 28" descr="Document with solid fill">
            <a:extLst>
              <a:ext uri="{FF2B5EF4-FFF2-40B4-BE49-F238E27FC236}">
                <a16:creationId xmlns:a16="http://schemas.microsoft.com/office/drawing/2014/main" id="{C1933174-EF8F-74B9-4985-5F5CC0D84CF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235736" y="5292061"/>
            <a:ext cx="721214" cy="721214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8673D72-FA88-05CB-6C14-86738BDE231D}"/>
              </a:ext>
            </a:extLst>
          </p:cNvPr>
          <p:cNvSpPr txBox="1"/>
          <p:nvPr/>
        </p:nvSpPr>
        <p:spPr>
          <a:xfrm>
            <a:off x="961239" y="2339128"/>
            <a:ext cx="18572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rgbClr val="C00000"/>
                </a:solidFill>
                <a:latin typeface="Calibri" panose="020F0502020204030204"/>
              </a:rPr>
              <a:t>Using NLP and Elastic Search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46F0F62-D739-97BB-F4FD-A7DBDC720E82}"/>
              </a:ext>
            </a:extLst>
          </p:cNvPr>
          <p:cNvSpPr txBox="1"/>
          <p:nvPr/>
        </p:nvSpPr>
        <p:spPr>
          <a:xfrm>
            <a:off x="5240040" y="1084278"/>
            <a:ext cx="348215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solidFill>
                  <a:srgbClr val="C00000"/>
                </a:solidFill>
                <a:latin typeface="Calibri" panose="020F0502020204030204"/>
              </a:rPr>
              <a:t>Use Gateway tech in your website and brand your entries on the Gatewa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AC7AF70-4A1C-6F7F-A65B-4AD766F56984}"/>
              </a:ext>
            </a:extLst>
          </p:cNvPr>
          <p:cNvSpPr txBox="1"/>
          <p:nvPr/>
        </p:nvSpPr>
        <p:spPr>
          <a:xfrm>
            <a:off x="8722195" y="2065549"/>
            <a:ext cx="22828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solidFill>
                  <a:srgbClr val="C00000"/>
                </a:solidFill>
                <a:latin typeface="Calibri" panose="020F0502020204030204"/>
              </a:rPr>
              <a:t>Point people at other solution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D25373F-ADA3-BDD4-082F-53BBB50B338F}"/>
              </a:ext>
            </a:extLst>
          </p:cNvPr>
          <p:cNvSpPr txBox="1"/>
          <p:nvPr/>
        </p:nvSpPr>
        <p:spPr>
          <a:xfrm>
            <a:off x="-17786" y="3477330"/>
            <a:ext cx="22828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solidFill>
                  <a:srgbClr val="C00000"/>
                </a:solidFill>
                <a:latin typeface="Calibri" panose="020F0502020204030204"/>
              </a:rPr>
              <a:t>Analysis scripts, detailed metadata, federated analytic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F6DB32C-F5D4-1F56-6339-F59DB31BE906}"/>
              </a:ext>
            </a:extLst>
          </p:cNvPr>
          <p:cNvSpPr txBox="1"/>
          <p:nvPr/>
        </p:nvSpPr>
        <p:spPr>
          <a:xfrm>
            <a:off x="10269519" y="3477330"/>
            <a:ext cx="190581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solidFill>
                  <a:srgbClr val="C00000"/>
                </a:solidFill>
                <a:latin typeface="Calibri" panose="020F0502020204030204"/>
              </a:rPr>
              <a:t>Multiomic, imaging, open, non-health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9AFA1B5-AC4E-50FC-B77A-261DD2AC0570}"/>
              </a:ext>
            </a:extLst>
          </p:cNvPr>
          <p:cNvSpPr txBox="1"/>
          <p:nvPr/>
        </p:nvSpPr>
        <p:spPr>
          <a:xfrm>
            <a:off x="10269519" y="5542177"/>
            <a:ext cx="190581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solidFill>
                  <a:srgbClr val="C00000"/>
                </a:solidFill>
                <a:latin typeface="Calibri" panose="020F0502020204030204"/>
              </a:rPr>
              <a:t>Share with Gateway- we share with other network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AE4367D-CB94-A4EE-6031-A084000BD162}"/>
              </a:ext>
            </a:extLst>
          </p:cNvPr>
          <p:cNvSpPr txBox="1"/>
          <p:nvPr/>
        </p:nvSpPr>
        <p:spPr>
          <a:xfrm>
            <a:off x="145297" y="5337002"/>
            <a:ext cx="15142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solidFill>
                  <a:srgbClr val="C00000"/>
                </a:solidFill>
                <a:latin typeface="Calibri" panose="020F0502020204030204"/>
              </a:rPr>
              <a:t>DCAT, Schema.org, DDI</a:t>
            </a:r>
          </a:p>
        </p:txBody>
      </p:sp>
    </p:spTree>
    <p:extLst>
      <p:ext uri="{BB962C8B-B14F-4D97-AF65-F5344CB8AC3E}">
        <p14:creationId xmlns:p14="http://schemas.microsoft.com/office/powerpoint/2010/main" val="27886624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/>
      <p:bldP spid="18" grpId="0"/>
      <p:bldP spid="19" grpId="0"/>
      <p:bldP spid="20" grpId="0"/>
      <p:bldP spid="21" grpId="0"/>
      <p:bldP spid="22" grpId="0"/>
      <p:bldP spid="30" grpId="0"/>
      <p:bldP spid="30" grpId="1"/>
      <p:bldP spid="31" grpId="0"/>
      <p:bldP spid="31" grpId="1"/>
      <p:bldP spid="32" grpId="0"/>
      <p:bldP spid="32" grpId="1"/>
      <p:bldP spid="33" grpId="0"/>
      <p:bldP spid="33" grpId="1"/>
      <p:bldP spid="34" grpId="0"/>
      <p:bldP spid="34" grpId="1"/>
      <p:bldP spid="35" grpId="0"/>
      <p:bldP spid="36" grpId="0"/>
      <p:bldP spid="36" grpId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AA88F4-AD52-0BF7-761A-0384703DB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Gateway as the ‘single front door’ for the NHS research SDE network</a:t>
            </a:r>
            <a:endParaRPr lang="en-GB" sz="4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2CF8A-4D95-1F01-857A-35AB811EEDCC}"/>
              </a:ext>
            </a:extLst>
          </p:cNvPr>
          <p:cNvSpPr txBox="1">
            <a:spLocks/>
          </p:cNvSpPr>
          <p:nvPr/>
        </p:nvSpPr>
        <p:spPr>
          <a:xfrm>
            <a:off x="925758" y="2603411"/>
            <a:ext cx="5951781" cy="2472837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10000"/>
          </a:bodyPr>
          <a:lstStyle>
            <a:lvl1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93713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69925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0100" indent="-1301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475DA7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The Gateway will evolve to provide users with a clear and consistent user journey for data discovery and cohort finding; reducing complexity and confusion for those wanting to securely access data to improve care and reduce burden on the NHS.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475DA7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"/>
              </a:rPr>
              <a:t>https://www.linkedin.com/pulse/transforming-data-enabled-research-landscape-england-bloomfield/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FA825F-6B84-7D40-ED1E-BA4D7FA83FA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471" t="14641" r="28186" b="30850"/>
          <a:stretch/>
        </p:blipFill>
        <p:spPr>
          <a:xfrm>
            <a:off x="7876145" y="2409960"/>
            <a:ext cx="3806130" cy="2859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0362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6A23C2-8B95-8FEE-32CF-C492B7D52FB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3600" dirty="0">
                <a:cs typeface="Calibri"/>
              </a:rPr>
              <a:t>Cohort Discovery tool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A9479D-21BE-418A-CA08-0FE1D980896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8968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02E70C-4488-8399-A233-4E832B024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What are the current barriers to discovering, identifying and accessing health data for research?</a:t>
            </a:r>
            <a:endParaRPr lang="en-GB" sz="2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1A4D9B-422E-18A4-3915-BBE511BFC9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9D6C681-B715-3B57-B496-E588A5B5A5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1667167"/>
              </p:ext>
            </p:extLst>
          </p:nvPr>
        </p:nvGraphicFramePr>
        <p:xfrm>
          <a:off x="839788" y="1520825"/>
          <a:ext cx="9709312" cy="4534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42119">
                  <a:extLst>
                    <a:ext uri="{9D8B030D-6E8A-4147-A177-3AD203B41FA5}">
                      <a16:colId xmlns:a16="http://schemas.microsoft.com/office/drawing/2014/main" val="1809942205"/>
                    </a:ext>
                  </a:extLst>
                </a:gridCol>
                <a:gridCol w="1667193">
                  <a:extLst>
                    <a:ext uri="{9D8B030D-6E8A-4147-A177-3AD203B41FA5}">
                      <a16:colId xmlns:a16="http://schemas.microsoft.com/office/drawing/2014/main" val="368951995"/>
                    </a:ext>
                  </a:extLst>
                </a:gridCol>
              </a:tblGrid>
              <a:tr h="565309"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ank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0614291"/>
                  </a:ext>
                </a:extLst>
              </a:tr>
              <a:tr h="34167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ack of standard data access request processes and policies</a:t>
                      </a:r>
                      <a:endParaRPr lang="en-US" sz="14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40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2763714"/>
                  </a:ext>
                </a:extLst>
              </a:tr>
              <a:tr h="341679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ack of transparency around data access request processes and policies</a:t>
                      </a:r>
                      <a:endParaRPr lang="en-GB" sz="1400" dirty="0">
                        <a:solidFill>
                          <a:schemeClr val="bg2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6759484"/>
                  </a:ext>
                </a:extLst>
              </a:tr>
              <a:tr h="40300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mplexity of data access request process</a:t>
                      </a:r>
                      <a:endParaRPr lang="en-US" sz="140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691853"/>
                  </a:ext>
                </a:extLst>
              </a:tr>
              <a:tr h="41176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ngth of time to get data access approvals</a:t>
                      </a:r>
                      <a:endParaRPr lang="en-US" sz="140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0398768"/>
                  </a:ext>
                </a:extLst>
              </a:tr>
              <a:tr h="42052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ack of training materials/awareness on how to find and access datasets</a:t>
                      </a:r>
                      <a:endParaRPr lang="en-US" sz="14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9959566"/>
                  </a:ext>
                </a:extLst>
              </a:tr>
              <a:tr h="40300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ngth of time to get ethical approval</a:t>
                      </a:r>
                      <a:endParaRPr lang="en-US" sz="14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937399"/>
                  </a:ext>
                </a:extLst>
              </a:tr>
              <a:tr h="41176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mplexity of ethical approval process</a:t>
                      </a:r>
                      <a:endParaRPr lang="en-US" sz="14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8683862"/>
                  </a:ext>
                </a:extLst>
              </a:tr>
              <a:tr h="41176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cap="none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sym typeface="Arial"/>
                        </a:rPr>
                        <a:t>Lack of common data standards within multiple Trusted Research Environments (TR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en-GB" sz="1400" dirty="0">
                        <a:solidFill>
                          <a:schemeClr val="bg2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5817198"/>
                  </a:ext>
                </a:extLst>
              </a:tr>
              <a:tr h="41176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cap="none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sym typeface="Arial"/>
                        </a:rPr>
                        <a:t>Skills to use analytic tools available in Trusted Research Environments (TR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en-GB" sz="1400" dirty="0">
                        <a:solidFill>
                          <a:schemeClr val="bg2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802288"/>
                  </a:ext>
                </a:extLst>
              </a:tr>
              <a:tr h="41176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0" i="0" u="none" strike="noStrike" cap="none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sym typeface="Arial"/>
                        </a:rPr>
                        <a:t>Trusted Research Environment (TRE) Disclosure control processes for extracting analytical outp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2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en-GB" sz="1400" dirty="0">
                        <a:solidFill>
                          <a:schemeClr val="bg2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0037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28114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A184B7-FDC3-34C1-78D1-585465A48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Cohort Discovery tool</a:t>
            </a:r>
            <a:endParaRPr lang="en-GB" sz="4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55AAAB-DD77-81C3-CED3-FB78A2BA74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4" name="Picture 3" descr="A computer screen shot of a map">
            <a:extLst>
              <a:ext uri="{FF2B5EF4-FFF2-40B4-BE49-F238E27FC236}">
                <a16:creationId xmlns:a16="http://schemas.microsoft.com/office/drawing/2014/main" id="{F4FC4086-119D-B700-2EBB-F0E328E397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9" y="1520825"/>
            <a:ext cx="9519554" cy="4681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2112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086583-0851-15E5-671B-178829CA26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Process overview</a:t>
            </a:r>
            <a:endParaRPr lang="en-GB" sz="4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EF263E-76A0-476D-49F4-C288A5A280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88" y="1280185"/>
            <a:ext cx="8732475" cy="4916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42281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1C0522-0DA6-69AA-DEA1-F0F30A58B3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667385"/>
            <a:ext cx="8447200" cy="612800"/>
          </a:xfrm>
        </p:spPr>
        <p:txBody>
          <a:bodyPr/>
          <a:lstStyle/>
          <a:p>
            <a:r>
              <a:rPr lang="en-US" sz="4000" dirty="0"/>
              <a:t>Cohort Discovery explainer</a:t>
            </a:r>
            <a:endParaRPr lang="en-GB" sz="4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B9E633-39C9-42A6-E299-D7439EA0B1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988" y="755378"/>
            <a:ext cx="524807" cy="52480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39D1E5A-6EC2-F4CE-5A1A-6887CCC11586}"/>
              </a:ext>
            </a:extLst>
          </p:cNvPr>
          <p:cNvSpPr txBox="1"/>
          <p:nvPr/>
        </p:nvSpPr>
        <p:spPr>
          <a:xfrm>
            <a:off x="751795" y="2052935"/>
            <a:ext cx="1065371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dirty="0">
                <a:hlinkClick r:id="rId4"/>
              </a:rPr>
              <a:t>https://www.youtube.com/watch?v=yvFrnbXlqRk&amp;embeds_referring_euri=https%3A%2F%2Fwww.healthdatagateway.org%2F&amp;feature=emb_imp_woyt</a:t>
            </a:r>
            <a:endParaRPr lang="en-GB" sz="2800" dirty="0"/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5619471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30CA2-3AF1-7DB7-2644-E624553CE1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Benefits</a:t>
            </a:r>
            <a:endParaRPr lang="en-GB" sz="4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D7B56B-9BBC-7408-F8D5-818EEC217A7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457200" indent="-457200" defTabSz="457200">
              <a:buFont typeface="Wingdings" panose="05000000000000000000" pitchFamily="2" charset="2"/>
              <a:buChar char="q"/>
              <a:defRPr/>
            </a:pPr>
            <a:r>
              <a:rPr lang="en-GB" sz="3200" dirty="0">
                <a:solidFill>
                  <a:srgbClr val="475DA7"/>
                </a:solidFill>
                <a:latin typeface="Calibri" panose="020F0502020204030204"/>
              </a:rPr>
              <a:t>Save researchers time in finding datasets that are most suitable for their research</a:t>
            </a:r>
          </a:p>
          <a:p>
            <a:pPr marL="457200" indent="-457200" defTabSz="457200">
              <a:buFont typeface="Wingdings" panose="05000000000000000000" pitchFamily="2" charset="2"/>
              <a:buChar char="q"/>
              <a:defRPr/>
            </a:pPr>
            <a:r>
              <a:rPr lang="en-GB" sz="3200" dirty="0">
                <a:solidFill>
                  <a:srgbClr val="475DA7"/>
                </a:solidFill>
                <a:latin typeface="Calibri" panose="020F0502020204030204"/>
              </a:rPr>
              <a:t>Researchers can understand whether a dataset contains  the population of their interest</a:t>
            </a:r>
          </a:p>
          <a:p>
            <a:pPr marL="457200" indent="-457200" defTabSz="457200">
              <a:buFont typeface="Wingdings" panose="05000000000000000000" pitchFamily="2" charset="2"/>
              <a:buChar char="q"/>
              <a:defRPr/>
            </a:pPr>
            <a:r>
              <a:rPr lang="en-GB" sz="3200" dirty="0">
                <a:solidFill>
                  <a:srgbClr val="475DA7"/>
                </a:solidFill>
                <a:latin typeface="Calibri" panose="020F0502020204030204"/>
              </a:rPr>
              <a:t>Assist researchers to submit data access request(s) to the appropriate data custodians</a:t>
            </a:r>
          </a:p>
          <a:p>
            <a:pPr marL="457200" indent="-457200" defTabSz="457200">
              <a:buFont typeface="Wingdings" panose="05000000000000000000" pitchFamily="2" charset="2"/>
              <a:buChar char="q"/>
              <a:defRPr/>
            </a:pPr>
            <a:r>
              <a:rPr lang="en-GB" sz="3200" dirty="0">
                <a:solidFill>
                  <a:srgbClr val="475DA7"/>
                </a:solidFill>
                <a:latin typeface="Calibri" panose="020F0502020204030204"/>
              </a:rPr>
              <a:t>Save data custodians time by minimising enquiries to them about the content of the datasets they hold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7988117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DC848-BC6B-5184-E7F2-6DEFC0BD6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/>
              <a:t>Today’s tal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575491-BE21-677A-0D5D-EC28D0735B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 to health data is regularly ranked as a barrier by health data researchers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475DA7"/>
                </a:solidFill>
                <a:latin typeface="Calibri" panose="020F0502020204030204"/>
              </a:rPr>
              <a:t>The Gateway Cohort Discovery tool provides researchers with dataset population sizes from multiple data partners across the UK, based on specified query parameters.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75DA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indent="0">
              <a:buNone/>
            </a:pP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460053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17711-2905-CC24-415A-0FEF15695CB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567B01-C711-71B8-FBCD-983A089113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3A3200-E20E-C3EB-1E6C-9EE7057D80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27762" y="5978792"/>
            <a:ext cx="6250904" cy="216000"/>
          </a:xfrm>
        </p:spPr>
        <p:txBody>
          <a:bodyPr>
            <a:noAutofit/>
          </a:bodyPr>
          <a:lstStyle/>
          <a:p>
            <a:r>
              <a:rPr lang="en-US" sz="1600" dirty="0"/>
              <a:t>Dr. Isaac Odiase</a:t>
            </a:r>
          </a:p>
          <a:p>
            <a:endParaRPr lang="en-GB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2119ED8E-F856-16B2-253A-1CB01910198B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67113" y="5987239"/>
            <a:ext cx="1339724" cy="216000"/>
          </a:xfrm>
        </p:spPr>
        <p:txBody>
          <a:bodyPr/>
          <a:lstStyle/>
          <a:p>
            <a:fld id="{09B8066E-8C2A-8A47-85CC-0B477FE4A559}" type="datetime1">
              <a:rPr lang="en-GB" smtClean="0"/>
              <a:t>09/11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62418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86CD2-7C1F-C3C2-3695-91255E0F2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F4EE3D-67B2-0AAF-6602-D0D481DC9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DR UK mission and goal</a:t>
            </a: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rgbClr val="475DA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Innovation Gateway platform</a:t>
            </a: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rgbClr val="475DA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 project population size feasibility tool (Cohort Discovery)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16560559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551B8F-AED7-8EA6-DCE1-14A4031E693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3600" dirty="0">
                <a:cs typeface="Calibri"/>
              </a:rPr>
              <a:t>Health Data Research (HDR) UK</a:t>
            </a:r>
            <a:br>
              <a:rPr lang="en-GB" sz="3600" dirty="0">
                <a:cs typeface="Calibri"/>
              </a:rPr>
            </a:br>
            <a:r>
              <a:rPr lang="en-GB" sz="3600" dirty="0">
                <a:cs typeface="Calibri"/>
              </a:rPr>
              <a:t>mission and goal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4E8A3B-E257-E355-AED8-0768391DF73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7702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7" name="Picture Placeholder 10">
            <a:extLst>
              <a:ext uri="{FF2B5EF4-FFF2-40B4-BE49-F238E27FC236}">
                <a16:creationId xmlns:a16="http://schemas.microsoft.com/office/drawing/2014/main" id="{98983163-302B-4588-BC55-511CD053D4C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ED42B7F-CAD6-4718-B282-EE281F8A8AB8}"/>
              </a:ext>
            </a:extLst>
          </p:cNvPr>
          <p:cNvSpPr/>
          <p:nvPr/>
        </p:nvSpPr>
        <p:spPr>
          <a:xfrm>
            <a:off x="-2" y="0"/>
            <a:ext cx="12192001" cy="6858000"/>
          </a:xfrm>
          <a:prstGeom prst="rect">
            <a:avLst/>
          </a:prstGeom>
          <a:gradFill>
            <a:gsLst>
              <a:gs pos="0">
                <a:schemeClr val="tx1">
                  <a:alpha val="75000"/>
                </a:schemeClr>
              </a:gs>
              <a:gs pos="100000">
                <a:schemeClr val="accent1">
                  <a:alpha val="75000"/>
                </a:schemeClr>
              </a:gs>
            </a:gsLst>
            <a:lin ang="2700000" scaled="1"/>
          </a:gra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3CB28C"/>
              </a:buClr>
              <a:buSzTx/>
              <a:buFontTx/>
              <a:buNone/>
              <a:tabLst/>
              <a:defRPr/>
            </a:pP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98C5E3-824E-AF48-835A-AFA68EC671F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52904" y="1613226"/>
            <a:ext cx="10428732" cy="4924425"/>
          </a:xfrm>
        </p:spPr>
        <p:txBody>
          <a:bodyPr wrap="square">
            <a:spAutoFit/>
          </a:bodyPr>
          <a:lstStyle/>
          <a:p>
            <a:br>
              <a:rPr lang="en-US" sz="3200" dirty="0"/>
            </a:br>
            <a:br>
              <a:rPr lang="en-US" sz="3200" dirty="0"/>
            </a:br>
            <a:r>
              <a:rPr lang="en-US" sz="3200" dirty="0"/>
              <a:t>MISSION: </a:t>
            </a:r>
            <a:r>
              <a:rPr lang="en-US" sz="3200" b="0" dirty="0">
                <a:solidFill>
                  <a:schemeClr val="bg1"/>
                </a:solidFill>
              </a:rPr>
              <a:t>to unite the UK’s health data to enable discoveries that improve people’s lives</a:t>
            </a:r>
            <a:br>
              <a:rPr lang="en-US" sz="3200" b="0" dirty="0">
                <a:solidFill>
                  <a:schemeClr val="bg1"/>
                </a:solidFill>
              </a:rPr>
            </a:br>
            <a:br>
              <a:rPr lang="en-US" sz="3200" b="0" dirty="0">
                <a:solidFill>
                  <a:schemeClr val="bg1"/>
                </a:solidFill>
              </a:rPr>
            </a:br>
            <a:r>
              <a:rPr lang="en-US" sz="3200" dirty="0"/>
              <a:t>VISION: </a:t>
            </a:r>
            <a:r>
              <a:rPr lang="en-US" sz="3200" b="0" dirty="0">
                <a:solidFill>
                  <a:schemeClr val="bg1"/>
                </a:solidFill>
              </a:rPr>
              <a:t>for large-scale data and advanced analytics to </a:t>
            </a:r>
            <a:r>
              <a:rPr lang="en-GB" sz="3200" b="0" dirty="0">
                <a:solidFill>
                  <a:schemeClr val="bg1"/>
                </a:solidFill>
              </a:rPr>
              <a:t>benefit every patient interaction, clinical trial and biomedical discovery, and to enhance public health </a:t>
            </a:r>
            <a:br>
              <a:rPr lang="en-GB" sz="3200" b="0" dirty="0">
                <a:solidFill>
                  <a:schemeClr val="bg1"/>
                </a:solidFill>
              </a:rPr>
            </a:br>
            <a:br>
              <a:rPr lang="en-GB" sz="3200" b="0" dirty="0">
                <a:solidFill>
                  <a:schemeClr val="bg1"/>
                </a:solidFill>
              </a:rPr>
            </a:br>
            <a:endParaRPr lang="en-US" sz="3200" b="0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D4AAFCBB-7C81-4C46-9BDA-379D85ADB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8021" y="6339811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| </a:t>
            </a:r>
            <a:fld id="{A134C65A-A9BE-9F48-B07C-F2CA02A2F78A}" type="slidenum">
              <a:rPr lang="en-US" smtClean="0"/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DBF4CE-E0A7-485D-9C7A-196DB9EB3A9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0300" y="549155"/>
            <a:ext cx="1525132" cy="53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1439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D54A6D-3F54-E2E0-4CE3-4CD0ACC66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What we are about?</a:t>
            </a:r>
            <a:endParaRPr lang="en-GB" sz="4000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01DDB1B9-9A09-CA81-E1B9-4B4BC469EB5B}"/>
              </a:ext>
            </a:extLst>
          </p:cNvPr>
          <p:cNvSpPr/>
          <p:nvPr/>
        </p:nvSpPr>
        <p:spPr>
          <a:xfrm>
            <a:off x="-254025" y="4576354"/>
            <a:ext cx="12644154" cy="12644154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A0E558-EBB9-641B-5C05-CBBB84231DEE}"/>
              </a:ext>
            </a:extLst>
          </p:cNvPr>
          <p:cNvSpPr txBox="1"/>
          <p:nvPr/>
        </p:nvSpPr>
        <p:spPr>
          <a:xfrm>
            <a:off x="360699" y="1380289"/>
            <a:ext cx="3240000" cy="221599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GB" sz="2400" b="1" dirty="0">
                <a:solidFill>
                  <a:schemeClr val="accent1"/>
                </a:solidFill>
              </a:rPr>
              <a:t>Improve health and boost UK science</a:t>
            </a:r>
            <a:r>
              <a:rPr lang="en-GB" sz="2400" dirty="0">
                <a:solidFill>
                  <a:schemeClr val="accent1"/>
                </a:solidFill>
              </a:rPr>
              <a:t> by making it easier for researchers to find, access and use diverse, high-quality data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4EA916-1BDD-A68A-ABD8-BEF822E9910A}"/>
              </a:ext>
            </a:extLst>
          </p:cNvPr>
          <p:cNvSpPr txBox="1"/>
          <p:nvPr/>
        </p:nvSpPr>
        <p:spPr>
          <a:xfrm>
            <a:off x="3783313" y="1350078"/>
            <a:ext cx="3842219" cy="221599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GB" sz="2400" b="1" dirty="0">
                <a:solidFill>
                  <a:schemeClr val="accent1"/>
                </a:solidFill>
              </a:rPr>
              <a:t>Provide leadership </a:t>
            </a:r>
            <a:br>
              <a:rPr lang="en-GB" sz="2400" b="1" dirty="0">
                <a:solidFill>
                  <a:schemeClr val="accent1"/>
                </a:solidFill>
              </a:rPr>
            </a:br>
            <a:r>
              <a:rPr lang="en-GB" sz="2400" b="1" dirty="0">
                <a:solidFill>
                  <a:schemeClr val="accent1"/>
                </a:solidFill>
              </a:rPr>
              <a:t>to fix difficult technical problems</a:t>
            </a:r>
            <a:r>
              <a:rPr lang="en-GB" sz="2400" dirty="0">
                <a:solidFill>
                  <a:schemeClr val="accent1"/>
                </a:solidFill>
              </a:rPr>
              <a:t>, by creating innovative solutions needed for researchers to use large-scale data safely and secure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C53944A-FBE7-29C8-5756-35003BD1980D}"/>
              </a:ext>
            </a:extLst>
          </p:cNvPr>
          <p:cNvSpPr txBox="1"/>
          <p:nvPr/>
        </p:nvSpPr>
        <p:spPr>
          <a:xfrm>
            <a:off x="7946172" y="1350078"/>
            <a:ext cx="3979128" cy="2215991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r>
              <a:rPr lang="en-GB" sz="2400" b="1" dirty="0">
                <a:solidFill>
                  <a:schemeClr val="accent1"/>
                </a:solidFill>
                <a:ea typeface="Source Sans Pro"/>
              </a:rPr>
              <a:t>Accelerate &amp; streamline health data science</a:t>
            </a:r>
            <a:r>
              <a:rPr lang="en-GB" sz="2400" dirty="0">
                <a:solidFill>
                  <a:schemeClr val="accent1"/>
                </a:solidFill>
                <a:ea typeface="Source Sans Pro"/>
              </a:rPr>
              <a:t> by developing open collaborations that connect data, people and organisations across the UK and internationall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B45DF4-1B40-6E4B-FAB0-DC5727AEB333}"/>
              </a:ext>
            </a:extLst>
          </p:cNvPr>
          <p:cNvSpPr txBox="1"/>
          <p:nvPr/>
        </p:nvSpPr>
        <p:spPr>
          <a:xfrm>
            <a:off x="3067402" y="5783252"/>
            <a:ext cx="60013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200" b="1" i="1" dirty="0">
                <a:solidFill>
                  <a:schemeClr val="accent1"/>
                </a:solidFill>
              </a:rPr>
              <a:t>Accelerating the researcher journey towards trustworthy use of data for public benefit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174674F-3F44-56CD-ED46-FAAAF452C50B}"/>
              </a:ext>
            </a:extLst>
          </p:cNvPr>
          <p:cNvSpPr>
            <a:spLocks noChangeAspect="1"/>
          </p:cNvSpPr>
          <p:nvPr/>
        </p:nvSpPr>
        <p:spPr>
          <a:xfrm>
            <a:off x="9667212" y="5472184"/>
            <a:ext cx="1253326" cy="1195369"/>
          </a:xfrm>
          <a:prstGeom prst="ellipse">
            <a:avLst/>
          </a:prstGeom>
          <a:solidFill>
            <a:schemeClr val="accent6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2000" b="1" dirty="0">
                <a:solidFill>
                  <a:schemeClr val="bg1"/>
                </a:solidFill>
                <a:ea typeface="Source Code Pro" panose="020B0509030403020204" pitchFamily="49" charset="0"/>
              </a:rPr>
              <a:t>Improve</a:t>
            </a:r>
          </a:p>
          <a:p>
            <a:pPr algn="ctr">
              <a:lnSpc>
                <a:spcPct val="80000"/>
              </a:lnSpc>
            </a:pPr>
            <a:r>
              <a:rPr lang="en-US" sz="2000" b="1" dirty="0">
                <a:solidFill>
                  <a:schemeClr val="bg1"/>
                </a:solidFill>
                <a:ea typeface="Source Code Pro" panose="020B0509030403020204" pitchFamily="49" charset="0"/>
              </a:rPr>
              <a:t>Health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31B6D67-E290-7756-CD3B-8EB924171627}"/>
              </a:ext>
            </a:extLst>
          </p:cNvPr>
          <p:cNvSpPr>
            <a:spLocks noChangeAspect="1"/>
          </p:cNvSpPr>
          <p:nvPr/>
        </p:nvSpPr>
        <p:spPr>
          <a:xfrm>
            <a:off x="1369333" y="5353618"/>
            <a:ext cx="1298727" cy="1238670"/>
          </a:xfrm>
          <a:prstGeom prst="ellipse">
            <a:avLst/>
          </a:prstGeom>
          <a:solidFill>
            <a:schemeClr val="accent6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2000" b="1" dirty="0">
                <a:solidFill>
                  <a:schemeClr val="bg1"/>
                </a:solidFill>
                <a:ea typeface="Source Code Pro" panose="020B0509030403020204" pitchFamily="49" charset="0"/>
              </a:rPr>
              <a:t>Find Data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62F92B5-76E9-00DE-F59A-EC97B43C7E3A}"/>
              </a:ext>
            </a:extLst>
          </p:cNvPr>
          <p:cNvSpPr>
            <a:spLocks noChangeAspect="1"/>
          </p:cNvSpPr>
          <p:nvPr/>
        </p:nvSpPr>
        <p:spPr>
          <a:xfrm>
            <a:off x="2632096" y="4507205"/>
            <a:ext cx="1298728" cy="1238671"/>
          </a:xfrm>
          <a:prstGeom prst="ellipse">
            <a:avLst/>
          </a:prstGeom>
          <a:solidFill>
            <a:schemeClr val="accent6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2000" b="1" dirty="0">
                <a:solidFill>
                  <a:schemeClr val="bg1"/>
                </a:solidFill>
                <a:ea typeface="Source Code Pro" panose="020B0509030403020204" pitchFamily="49" charset="0"/>
              </a:rPr>
              <a:t>Access Data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CA6411F-6BA4-9570-B56D-3F09C2F0D0CD}"/>
              </a:ext>
            </a:extLst>
          </p:cNvPr>
          <p:cNvSpPr>
            <a:spLocks noChangeAspect="1"/>
          </p:cNvSpPr>
          <p:nvPr/>
        </p:nvSpPr>
        <p:spPr>
          <a:xfrm>
            <a:off x="4035479" y="3998933"/>
            <a:ext cx="1259555" cy="1201310"/>
          </a:xfrm>
          <a:prstGeom prst="ellipse">
            <a:avLst/>
          </a:prstGeom>
          <a:solidFill>
            <a:schemeClr val="accent6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2000" b="1" dirty="0">
                <a:solidFill>
                  <a:schemeClr val="bg1"/>
                </a:solidFill>
                <a:ea typeface="Source Code Pro" panose="020B0509030403020204" pitchFamily="49" charset="0"/>
              </a:rPr>
              <a:t>Link</a:t>
            </a:r>
            <a:br>
              <a:rPr lang="en-US" sz="2000" b="1" dirty="0">
                <a:solidFill>
                  <a:schemeClr val="bg1"/>
                </a:solidFill>
                <a:ea typeface="Source Code Pro" panose="020B0509030403020204" pitchFamily="49" charset="0"/>
              </a:rPr>
            </a:br>
            <a:r>
              <a:rPr lang="en-US" sz="2000" b="1" dirty="0">
                <a:solidFill>
                  <a:schemeClr val="bg1"/>
                </a:solidFill>
                <a:ea typeface="Source Code Pro" panose="020B0509030403020204" pitchFamily="49" charset="0"/>
              </a:rPr>
              <a:t>Data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FA79CD3-718B-3C9D-4492-B58D422F5A06}"/>
              </a:ext>
            </a:extLst>
          </p:cNvPr>
          <p:cNvSpPr>
            <a:spLocks noChangeAspect="1"/>
          </p:cNvSpPr>
          <p:nvPr/>
        </p:nvSpPr>
        <p:spPr>
          <a:xfrm>
            <a:off x="5511408" y="3888474"/>
            <a:ext cx="1259555" cy="1201310"/>
          </a:xfrm>
          <a:prstGeom prst="ellipse">
            <a:avLst/>
          </a:prstGeom>
          <a:solidFill>
            <a:schemeClr val="accent6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2000" b="1" dirty="0">
                <a:solidFill>
                  <a:schemeClr val="bg1"/>
                </a:solidFill>
                <a:ea typeface="Source Code Pro" panose="020B0509030403020204" pitchFamily="49" charset="0"/>
              </a:rPr>
              <a:t>Curate Data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97DFCDA-2D7C-1A5B-FEC8-272825FAA25E}"/>
              </a:ext>
            </a:extLst>
          </p:cNvPr>
          <p:cNvSpPr>
            <a:spLocks noChangeAspect="1"/>
          </p:cNvSpPr>
          <p:nvPr/>
        </p:nvSpPr>
        <p:spPr>
          <a:xfrm>
            <a:off x="6995755" y="4097375"/>
            <a:ext cx="1259555" cy="1201310"/>
          </a:xfrm>
          <a:prstGeom prst="ellipse">
            <a:avLst/>
          </a:prstGeom>
          <a:solidFill>
            <a:schemeClr val="accent6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2000" b="1" dirty="0">
                <a:solidFill>
                  <a:schemeClr val="bg1"/>
                </a:solidFill>
                <a:ea typeface="Source Code Pro" panose="020B0509030403020204" pitchFamily="49" charset="0"/>
              </a:rPr>
              <a:t>Analyse Data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7CE1A0A-1F27-EBAD-F20E-BA9CD9B7C0C1}"/>
              </a:ext>
            </a:extLst>
          </p:cNvPr>
          <p:cNvSpPr>
            <a:spLocks noChangeAspect="1"/>
          </p:cNvSpPr>
          <p:nvPr/>
        </p:nvSpPr>
        <p:spPr>
          <a:xfrm>
            <a:off x="8397881" y="4686665"/>
            <a:ext cx="1253325" cy="1195368"/>
          </a:xfrm>
          <a:prstGeom prst="ellipse">
            <a:avLst/>
          </a:prstGeom>
          <a:solidFill>
            <a:schemeClr val="accent6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en-US" sz="2000" b="1" dirty="0">
                <a:solidFill>
                  <a:schemeClr val="bg1"/>
                </a:solidFill>
                <a:ea typeface="Source Code Pro" panose="020B0509030403020204" pitchFamily="49" charset="0"/>
              </a:rPr>
              <a:t>Create Insights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24543D1-5DD9-0D66-25AD-2B36F3E7C36E}"/>
              </a:ext>
            </a:extLst>
          </p:cNvPr>
          <p:cNvCxnSpPr>
            <a:cxnSpLocks/>
          </p:cNvCxnSpPr>
          <p:nvPr/>
        </p:nvCxnSpPr>
        <p:spPr>
          <a:xfrm flipV="1">
            <a:off x="1431773" y="6509589"/>
            <a:ext cx="65447" cy="82699"/>
          </a:xfrm>
          <a:prstGeom prst="straightConnector1">
            <a:avLst/>
          </a:prstGeom>
          <a:ln w="127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0636A93-70CC-E0AF-4EC5-B367A0FF781F}"/>
              </a:ext>
            </a:extLst>
          </p:cNvPr>
          <p:cNvCxnSpPr>
            <a:cxnSpLocks/>
          </p:cNvCxnSpPr>
          <p:nvPr/>
        </p:nvCxnSpPr>
        <p:spPr>
          <a:xfrm flipV="1">
            <a:off x="2602868" y="5538566"/>
            <a:ext cx="101154" cy="61045"/>
          </a:xfrm>
          <a:prstGeom prst="straightConnector1">
            <a:avLst/>
          </a:prstGeom>
          <a:ln w="127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7398B6F-1F06-DA68-EE2C-DD0187D905A5}"/>
              </a:ext>
            </a:extLst>
          </p:cNvPr>
          <p:cNvCxnSpPr>
            <a:cxnSpLocks/>
          </p:cNvCxnSpPr>
          <p:nvPr/>
        </p:nvCxnSpPr>
        <p:spPr>
          <a:xfrm flipV="1">
            <a:off x="3970586" y="4883150"/>
            <a:ext cx="99764" cy="51124"/>
          </a:xfrm>
          <a:prstGeom prst="straightConnector1">
            <a:avLst/>
          </a:prstGeom>
          <a:ln w="127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961F9FA-7AD3-BF40-EB72-D8BAD22593C7}"/>
              </a:ext>
            </a:extLst>
          </p:cNvPr>
          <p:cNvCxnSpPr>
            <a:cxnSpLocks/>
          </p:cNvCxnSpPr>
          <p:nvPr/>
        </p:nvCxnSpPr>
        <p:spPr>
          <a:xfrm>
            <a:off x="5358810" y="4600970"/>
            <a:ext cx="121641" cy="0"/>
          </a:xfrm>
          <a:prstGeom prst="straightConnector1">
            <a:avLst/>
          </a:prstGeom>
          <a:ln w="127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4614C37-CEFD-D622-4BBB-2E96DDA7CE00}"/>
              </a:ext>
            </a:extLst>
          </p:cNvPr>
          <p:cNvCxnSpPr>
            <a:cxnSpLocks/>
          </p:cNvCxnSpPr>
          <p:nvPr/>
        </p:nvCxnSpPr>
        <p:spPr>
          <a:xfrm>
            <a:off x="6829404" y="4617232"/>
            <a:ext cx="111940" cy="21443"/>
          </a:xfrm>
          <a:prstGeom prst="straightConnector1">
            <a:avLst/>
          </a:prstGeom>
          <a:ln w="127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EE41248D-9FF0-F5AC-FAFF-17CA93DB9962}"/>
              </a:ext>
            </a:extLst>
          </p:cNvPr>
          <p:cNvCxnSpPr>
            <a:cxnSpLocks/>
          </p:cNvCxnSpPr>
          <p:nvPr/>
        </p:nvCxnSpPr>
        <p:spPr>
          <a:xfrm>
            <a:off x="8236915" y="4956321"/>
            <a:ext cx="124477" cy="58320"/>
          </a:xfrm>
          <a:prstGeom prst="straightConnector1">
            <a:avLst/>
          </a:prstGeom>
          <a:ln w="127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09E9922A-3FA5-8F40-8CFD-0E768C5D450F}"/>
              </a:ext>
            </a:extLst>
          </p:cNvPr>
          <p:cNvCxnSpPr>
            <a:cxnSpLocks/>
          </p:cNvCxnSpPr>
          <p:nvPr/>
        </p:nvCxnSpPr>
        <p:spPr>
          <a:xfrm>
            <a:off x="9620053" y="5677644"/>
            <a:ext cx="78313" cy="52288"/>
          </a:xfrm>
          <a:prstGeom prst="straightConnector1">
            <a:avLst/>
          </a:prstGeom>
          <a:ln w="127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F941499-D590-BF66-E1E2-66639ACD5B81}"/>
              </a:ext>
            </a:extLst>
          </p:cNvPr>
          <p:cNvCxnSpPr>
            <a:cxnSpLocks/>
          </p:cNvCxnSpPr>
          <p:nvPr/>
        </p:nvCxnSpPr>
        <p:spPr>
          <a:xfrm>
            <a:off x="10720191" y="6615265"/>
            <a:ext cx="59728" cy="78429"/>
          </a:xfrm>
          <a:prstGeom prst="straightConnector1">
            <a:avLst/>
          </a:prstGeom>
          <a:ln w="127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9080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BEE52B-EB37-287D-5D71-23EA58C80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The problem we are trying to solve</a:t>
            </a:r>
            <a:endParaRPr lang="en-GB" sz="4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7BD584-AA10-4E64-163B-F40A963572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B71D600-FB5B-66D2-60DF-5EB8BC4F4CDB}"/>
              </a:ext>
            </a:extLst>
          </p:cNvPr>
          <p:cNvGrpSpPr/>
          <p:nvPr/>
        </p:nvGrpSpPr>
        <p:grpSpPr>
          <a:xfrm>
            <a:off x="839788" y="1535713"/>
            <a:ext cx="10105711" cy="4810192"/>
            <a:chOff x="421950" y="1309254"/>
            <a:chExt cx="10723207" cy="529184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2FFB25C-88ED-256D-9FFD-F000661BE889}"/>
                </a:ext>
              </a:extLst>
            </p:cNvPr>
            <p:cNvGrpSpPr/>
            <p:nvPr/>
          </p:nvGrpSpPr>
          <p:grpSpPr>
            <a:xfrm>
              <a:off x="421950" y="1309254"/>
              <a:ext cx="10723207" cy="5291843"/>
              <a:chOff x="421950" y="1309254"/>
              <a:chExt cx="10723207" cy="5291843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08481445-E8BB-9102-4D4E-83E69C0F8ECA}"/>
                  </a:ext>
                </a:extLst>
              </p:cNvPr>
              <p:cNvSpPr/>
              <p:nvPr/>
            </p:nvSpPr>
            <p:spPr>
              <a:xfrm>
                <a:off x="421950" y="1309254"/>
                <a:ext cx="10723207" cy="5291843"/>
              </a:xfrm>
              <a:prstGeom prst="rect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475DA7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58BE4B62-1388-E84F-E938-EE6B8327740E}"/>
                  </a:ext>
                </a:extLst>
              </p:cNvPr>
              <p:cNvSpPr/>
              <p:nvPr/>
            </p:nvSpPr>
            <p:spPr>
              <a:xfrm>
                <a:off x="598517" y="1309254"/>
                <a:ext cx="10464764" cy="4239491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9" name="Picture 4" descr="A picture containing diagram&#10;&#10;Description automatically generated">
                <a:extLst>
                  <a:ext uri="{FF2B5EF4-FFF2-40B4-BE49-F238E27FC236}">
                    <a16:creationId xmlns:a16="http://schemas.microsoft.com/office/drawing/2014/main" id="{8F45B052-88CC-39D4-FBCA-ABA6BDBAF8B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1969" b="18310"/>
              <a:stretch/>
            </p:blipFill>
            <p:spPr>
              <a:xfrm>
                <a:off x="631305" y="1459714"/>
                <a:ext cx="10399188" cy="3938570"/>
              </a:xfrm>
              <a:prstGeom prst="rect">
                <a:avLst/>
              </a:prstGeom>
            </p:spPr>
          </p:pic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26353C0-D803-2576-4035-3497F9201DAC}"/>
                  </a:ext>
                </a:extLst>
              </p:cNvPr>
              <p:cNvSpPr txBox="1"/>
              <p:nvPr/>
            </p:nvSpPr>
            <p:spPr>
              <a:xfrm>
                <a:off x="1982235" y="5893211"/>
                <a:ext cx="7602635" cy="70788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475DA7"/>
                    </a:solidFill>
                    <a:effectLst/>
                    <a:uLnTx/>
                    <a:uFillTx/>
                    <a:latin typeface="Calibri" panose="020F0502020204030204"/>
                  </a:rPr>
                  <a:t>Establishing a trustworthy health data research ecosystem to accelerate use of data for public benefit</a:t>
                </a:r>
              </a:p>
            </p:txBody>
          </p:sp>
          <p:sp>
            <p:nvSpPr>
              <p:cNvPr id="11" name="Arrow: Down 10">
                <a:extLst>
                  <a:ext uri="{FF2B5EF4-FFF2-40B4-BE49-F238E27FC236}">
                    <a16:creationId xmlns:a16="http://schemas.microsoft.com/office/drawing/2014/main" id="{9A7F2881-6E10-020D-9DF1-C7D9D7A17CAD}"/>
                  </a:ext>
                </a:extLst>
              </p:cNvPr>
              <p:cNvSpPr/>
              <p:nvPr/>
            </p:nvSpPr>
            <p:spPr>
              <a:xfrm>
                <a:off x="5000675" y="5346615"/>
                <a:ext cx="1304545" cy="404257"/>
              </a:xfrm>
              <a:prstGeom prst="downArrow">
                <a:avLst/>
              </a:prstGeom>
              <a:solidFill>
                <a:srgbClr val="E664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61BBB562-9C60-332F-EAF0-6CA84264530B}"/>
                  </a:ext>
                </a:extLst>
              </p:cNvPr>
              <p:cNvSpPr/>
              <p:nvPr/>
            </p:nvSpPr>
            <p:spPr>
              <a:xfrm>
                <a:off x="4028800" y="3026952"/>
                <a:ext cx="3248297" cy="2371332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75DA7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rustworthy data systems needed to link sensitive data, require consistency of information governance, policies, standards and interoperable technology</a:t>
                </a:r>
              </a:p>
            </p:txBody>
          </p: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4E3E56F-A557-4CB3-738B-0070809BDF77}"/>
                </a:ext>
              </a:extLst>
            </p:cNvPr>
            <p:cNvSpPr/>
            <p:nvPr/>
          </p:nvSpPr>
          <p:spPr>
            <a:xfrm>
              <a:off x="421950" y="1309254"/>
              <a:ext cx="10723207" cy="5291843"/>
            </a:xfrm>
            <a:prstGeom prst="rect">
              <a:avLst/>
            </a:prstGeom>
            <a:noFill/>
            <a:ln w="12700" cap="flat" cmpd="sng" algn="ctr">
              <a:solidFill>
                <a:srgbClr val="475DA7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57613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1C2E03-3351-4979-53C6-0EC03A3A14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667386"/>
            <a:ext cx="8990010" cy="612775"/>
          </a:xfrm>
        </p:spPr>
        <p:txBody>
          <a:bodyPr/>
          <a:lstStyle/>
          <a:p>
            <a:r>
              <a:rPr lang="en-US" sz="4000" dirty="0"/>
              <a:t>HDR UK enables studies on 67m people to accelerate research that improves lives</a:t>
            </a:r>
            <a:endParaRPr lang="en-GB" sz="4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EDD904-08F2-A605-2D1E-6BDAB5E345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185E337-6273-EB37-EE56-EC14972B2E5B}"/>
              </a:ext>
            </a:extLst>
          </p:cNvPr>
          <p:cNvGrpSpPr/>
          <p:nvPr/>
        </p:nvGrpSpPr>
        <p:grpSpPr>
          <a:xfrm>
            <a:off x="924849" y="1605890"/>
            <a:ext cx="9066948" cy="4311610"/>
            <a:chOff x="2331073" y="1628080"/>
            <a:chExt cx="9066948" cy="4311610"/>
          </a:xfrm>
        </p:grpSpPr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ECA0263D-8FCC-9CB3-E31C-FE6F409F443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78110" y="2426125"/>
              <a:ext cx="121075" cy="2418127"/>
            </a:xfrm>
            <a:prstGeom prst="straightConnector1">
              <a:avLst/>
            </a:prstGeom>
            <a:noFill/>
            <a:ln w="38100" cap="flat" cmpd="sng" algn="ctr">
              <a:solidFill>
                <a:srgbClr val="475DA7"/>
              </a:solidFill>
              <a:prstDash val="solid"/>
              <a:miter lim="800000"/>
              <a:tailEnd type="triangle"/>
            </a:ln>
            <a:effectLst/>
          </p:spPr>
        </p:cxn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16C7BA4-B21C-8275-7F2C-9013C3FE39A7}"/>
                </a:ext>
              </a:extLst>
            </p:cNvPr>
            <p:cNvGrpSpPr/>
            <p:nvPr/>
          </p:nvGrpSpPr>
          <p:grpSpPr>
            <a:xfrm>
              <a:off x="3504150" y="2007483"/>
              <a:ext cx="5643840" cy="3932207"/>
              <a:chOff x="3905065" y="2038350"/>
              <a:chExt cx="4736005" cy="3515993"/>
            </a:xfrm>
            <a:solidFill>
              <a:srgbClr val="D1D7DA"/>
            </a:solidFill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A10ED13E-62E1-7893-0D89-2CEDB19C8AFB}"/>
                  </a:ext>
                </a:extLst>
              </p:cNvPr>
              <p:cNvCxnSpPr/>
              <p:nvPr/>
            </p:nvCxnSpPr>
            <p:spPr>
              <a:xfrm>
                <a:off x="6036108" y="2038350"/>
                <a:ext cx="0" cy="1860550"/>
              </a:xfrm>
              <a:prstGeom prst="line">
                <a:avLst/>
              </a:prstGeom>
              <a:grpFill/>
              <a:ln w="6350" cap="flat" cmpd="sng" algn="ctr">
                <a:solidFill>
                  <a:srgbClr val="E66400">
                    <a:alpha val="2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5" name="Rectangle 31">
                <a:extLst>
                  <a:ext uri="{FF2B5EF4-FFF2-40B4-BE49-F238E27FC236}">
                    <a16:creationId xmlns:a16="http://schemas.microsoft.com/office/drawing/2014/main" id="{3917C8A9-A652-AAEA-294E-0B83E4472906}"/>
                  </a:ext>
                </a:extLst>
              </p:cNvPr>
              <p:cNvSpPr/>
              <p:nvPr/>
            </p:nvSpPr>
            <p:spPr>
              <a:xfrm>
                <a:off x="6036108" y="2045970"/>
                <a:ext cx="2604962" cy="2479040"/>
              </a:xfrm>
              <a:custGeom>
                <a:avLst/>
                <a:gdLst>
                  <a:gd name="connsiteX0" fmla="*/ 0 w 2498282"/>
                  <a:gd name="connsiteY0" fmla="*/ 0 h 2480310"/>
                  <a:gd name="connsiteX1" fmla="*/ 2498282 w 2498282"/>
                  <a:gd name="connsiteY1" fmla="*/ 0 h 2480310"/>
                  <a:gd name="connsiteX2" fmla="*/ 2498282 w 2498282"/>
                  <a:gd name="connsiteY2" fmla="*/ 2480310 h 2480310"/>
                  <a:gd name="connsiteX3" fmla="*/ 0 w 2498282"/>
                  <a:gd name="connsiteY3" fmla="*/ 2480310 h 2480310"/>
                  <a:gd name="connsiteX4" fmla="*/ 0 w 2498282"/>
                  <a:gd name="connsiteY4" fmla="*/ 0 h 2480310"/>
                  <a:gd name="connsiteX0" fmla="*/ 0 w 2604962"/>
                  <a:gd name="connsiteY0" fmla="*/ 0 h 2480310"/>
                  <a:gd name="connsiteX1" fmla="*/ 2604962 w 2604962"/>
                  <a:gd name="connsiteY1" fmla="*/ 388620 h 2480310"/>
                  <a:gd name="connsiteX2" fmla="*/ 2498282 w 2604962"/>
                  <a:gd name="connsiteY2" fmla="*/ 2480310 h 2480310"/>
                  <a:gd name="connsiteX3" fmla="*/ 0 w 2604962"/>
                  <a:gd name="connsiteY3" fmla="*/ 2480310 h 2480310"/>
                  <a:gd name="connsiteX4" fmla="*/ 0 w 2604962"/>
                  <a:gd name="connsiteY4" fmla="*/ 0 h 2480310"/>
                  <a:gd name="connsiteX0" fmla="*/ 0 w 2604962"/>
                  <a:gd name="connsiteY0" fmla="*/ 0 h 2486660"/>
                  <a:gd name="connsiteX1" fmla="*/ 2604962 w 2604962"/>
                  <a:gd name="connsiteY1" fmla="*/ 388620 h 2486660"/>
                  <a:gd name="connsiteX2" fmla="*/ 2488757 w 2604962"/>
                  <a:gd name="connsiteY2" fmla="*/ 2486660 h 2486660"/>
                  <a:gd name="connsiteX3" fmla="*/ 0 w 2604962"/>
                  <a:gd name="connsiteY3" fmla="*/ 2480310 h 2486660"/>
                  <a:gd name="connsiteX4" fmla="*/ 0 w 2604962"/>
                  <a:gd name="connsiteY4" fmla="*/ 0 h 2486660"/>
                  <a:gd name="connsiteX0" fmla="*/ 0 w 2604962"/>
                  <a:gd name="connsiteY0" fmla="*/ 0 h 2486660"/>
                  <a:gd name="connsiteX1" fmla="*/ 2604962 w 2604962"/>
                  <a:gd name="connsiteY1" fmla="*/ 388620 h 2486660"/>
                  <a:gd name="connsiteX2" fmla="*/ 2488757 w 2604962"/>
                  <a:gd name="connsiteY2" fmla="*/ 2486660 h 2486660"/>
                  <a:gd name="connsiteX3" fmla="*/ 6350 w 2604962"/>
                  <a:gd name="connsiteY3" fmla="*/ 1861185 h 2486660"/>
                  <a:gd name="connsiteX4" fmla="*/ 0 w 2604962"/>
                  <a:gd name="connsiteY4" fmla="*/ 0 h 2486660"/>
                  <a:gd name="connsiteX0" fmla="*/ 0 w 2604962"/>
                  <a:gd name="connsiteY0" fmla="*/ 0 h 2479040"/>
                  <a:gd name="connsiteX1" fmla="*/ 2604962 w 2604962"/>
                  <a:gd name="connsiteY1" fmla="*/ 381000 h 2479040"/>
                  <a:gd name="connsiteX2" fmla="*/ 2488757 w 2604962"/>
                  <a:gd name="connsiteY2" fmla="*/ 2479040 h 2479040"/>
                  <a:gd name="connsiteX3" fmla="*/ 6350 w 2604962"/>
                  <a:gd name="connsiteY3" fmla="*/ 1853565 h 2479040"/>
                  <a:gd name="connsiteX4" fmla="*/ 0 w 2604962"/>
                  <a:gd name="connsiteY4" fmla="*/ 0 h 247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04962" h="2479040">
                    <a:moveTo>
                      <a:pt x="0" y="0"/>
                    </a:moveTo>
                    <a:lnTo>
                      <a:pt x="2604962" y="381000"/>
                    </a:lnTo>
                    <a:lnTo>
                      <a:pt x="2488757" y="2479040"/>
                    </a:lnTo>
                    <a:lnTo>
                      <a:pt x="6350" y="1853565"/>
                    </a:lnTo>
                    <a:cubicBezTo>
                      <a:pt x="4233" y="1233170"/>
                      <a:pt x="2117" y="620395"/>
                      <a:pt x="0" y="0"/>
                    </a:cubicBezTo>
                    <a:close/>
                  </a:path>
                </a:pathLst>
              </a:custGeom>
              <a:solidFill>
                <a:srgbClr val="475DA7">
                  <a:lumMod val="20000"/>
                  <a:lumOff val="80000"/>
                </a:srgbClr>
              </a:solidFill>
              <a:ln w="28575" cap="flat" cmpd="sng" algn="ctr">
                <a:solidFill>
                  <a:srgbClr val="000000">
                    <a:alpha val="2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475DA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Rectangle 34">
                <a:extLst>
                  <a:ext uri="{FF2B5EF4-FFF2-40B4-BE49-F238E27FC236}">
                    <a16:creationId xmlns:a16="http://schemas.microsoft.com/office/drawing/2014/main" id="{3DF89370-F2CD-10BA-4741-4BD79C6FA4B8}"/>
                  </a:ext>
                </a:extLst>
              </p:cNvPr>
              <p:cNvSpPr/>
              <p:nvPr/>
            </p:nvSpPr>
            <p:spPr>
              <a:xfrm>
                <a:off x="4019551" y="3890963"/>
                <a:ext cx="4502464" cy="1663380"/>
              </a:xfrm>
              <a:custGeom>
                <a:avLst/>
                <a:gdLst>
                  <a:gd name="connsiteX0" fmla="*/ 0 w 1203957"/>
                  <a:gd name="connsiteY0" fmla="*/ 0 h 848040"/>
                  <a:gd name="connsiteX1" fmla="*/ 1203957 w 1203957"/>
                  <a:gd name="connsiteY1" fmla="*/ 0 h 848040"/>
                  <a:gd name="connsiteX2" fmla="*/ 1203957 w 1203957"/>
                  <a:gd name="connsiteY2" fmla="*/ 848040 h 848040"/>
                  <a:gd name="connsiteX3" fmla="*/ 0 w 1203957"/>
                  <a:gd name="connsiteY3" fmla="*/ 848040 h 848040"/>
                  <a:gd name="connsiteX4" fmla="*/ 0 w 1203957"/>
                  <a:gd name="connsiteY4" fmla="*/ 0 h 848040"/>
                  <a:gd name="connsiteX0" fmla="*/ 0 w 3032757"/>
                  <a:gd name="connsiteY0" fmla="*/ 0 h 848040"/>
                  <a:gd name="connsiteX1" fmla="*/ 3032757 w 3032757"/>
                  <a:gd name="connsiteY1" fmla="*/ 251460 h 848040"/>
                  <a:gd name="connsiteX2" fmla="*/ 1203957 w 3032757"/>
                  <a:gd name="connsiteY2" fmla="*/ 848040 h 848040"/>
                  <a:gd name="connsiteX3" fmla="*/ 0 w 3032757"/>
                  <a:gd name="connsiteY3" fmla="*/ 848040 h 848040"/>
                  <a:gd name="connsiteX4" fmla="*/ 0 w 3032757"/>
                  <a:gd name="connsiteY4" fmla="*/ 0 h 848040"/>
                  <a:gd name="connsiteX0" fmla="*/ 563880 w 3032757"/>
                  <a:gd name="connsiteY0" fmla="*/ 0 h 1229040"/>
                  <a:gd name="connsiteX1" fmla="*/ 3032757 w 3032757"/>
                  <a:gd name="connsiteY1" fmla="*/ 632460 h 1229040"/>
                  <a:gd name="connsiteX2" fmla="*/ 1203957 w 3032757"/>
                  <a:gd name="connsiteY2" fmla="*/ 1229040 h 1229040"/>
                  <a:gd name="connsiteX3" fmla="*/ 0 w 3032757"/>
                  <a:gd name="connsiteY3" fmla="*/ 1229040 h 1229040"/>
                  <a:gd name="connsiteX4" fmla="*/ 563880 w 3032757"/>
                  <a:gd name="connsiteY4" fmla="*/ 0 h 1229040"/>
                  <a:gd name="connsiteX0" fmla="*/ 1988820 w 4457697"/>
                  <a:gd name="connsiteY0" fmla="*/ 0 h 1229040"/>
                  <a:gd name="connsiteX1" fmla="*/ 4457697 w 4457697"/>
                  <a:gd name="connsiteY1" fmla="*/ 632460 h 1229040"/>
                  <a:gd name="connsiteX2" fmla="*/ 2628897 w 4457697"/>
                  <a:gd name="connsiteY2" fmla="*/ 1229040 h 1229040"/>
                  <a:gd name="connsiteX3" fmla="*/ 0 w 4457697"/>
                  <a:gd name="connsiteY3" fmla="*/ 718500 h 1229040"/>
                  <a:gd name="connsiteX4" fmla="*/ 1988820 w 4457697"/>
                  <a:gd name="connsiteY4" fmla="*/ 0 h 1229040"/>
                  <a:gd name="connsiteX0" fmla="*/ 1988820 w 4457697"/>
                  <a:gd name="connsiteY0" fmla="*/ 0 h 1663380"/>
                  <a:gd name="connsiteX1" fmla="*/ 4457697 w 4457697"/>
                  <a:gd name="connsiteY1" fmla="*/ 632460 h 1663380"/>
                  <a:gd name="connsiteX2" fmla="*/ 2598417 w 4457697"/>
                  <a:gd name="connsiteY2" fmla="*/ 1663380 h 1663380"/>
                  <a:gd name="connsiteX3" fmla="*/ 0 w 4457697"/>
                  <a:gd name="connsiteY3" fmla="*/ 718500 h 1663380"/>
                  <a:gd name="connsiteX4" fmla="*/ 1988820 w 4457697"/>
                  <a:gd name="connsiteY4" fmla="*/ 0 h 1663380"/>
                  <a:gd name="connsiteX0" fmla="*/ 1981200 w 4450077"/>
                  <a:gd name="connsiteY0" fmla="*/ 0 h 1663380"/>
                  <a:gd name="connsiteX1" fmla="*/ 4450077 w 4450077"/>
                  <a:gd name="connsiteY1" fmla="*/ 632460 h 1663380"/>
                  <a:gd name="connsiteX2" fmla="*/ 2590797 w 4450077"/>
                  <a:gd name="connsiteY2" fmla="*/ 1663380 h 1663380"/>
                  <a:gd name="connsiteX3" fmla="*/ 0 w 4450077"/>
                  <a:gd name="connsiteY3" fmla="*/ 710880 h 1663380"/>
                  <a:gd name="connsiteX4" fmla="*/ 1981200 w 4450077"/>
                  <a:gd name="connsiteY4" fmla="*/ 0 h 1663380"/>
                  <a:gd name="connsiteX0" fmla="*/ 1981200 w 4483414"/>
                  <a:gd name="connsiteY0" fmla="*/ 0 h 1663380"/>
                  <a:gd name="connsiteX1" fmla="*/ 4483414 w 4483414"/>
                  <a:gd name="connsiteY1" fmla="*/ 637222 h 1663380"/>
                  <a:gd name="connsiteX2" fmla="*/ 2590797 w 4483414"/>
                  <a:gd name="connsiteY2" fmla="*/ 1663380 h 1663380"/>
                  <a:gd name="connsiteX3" fmla="*/ 0 w 4483414"/>
                  <a:gd name="connsiteY3" fmla="*/ 710880 h 1663380"/>
                  <a:gd name="connsiteX4" fmla="*/ 1981200 w 4483414"/>
                  <a:gd name="connsiteY4" fmla="*/ 0 h 1663380"/>
                  <a:gd name="connsiteX0" fmla="*/ 1981200 w 4483414"/>
                  <a:gd name="connsiteY0" fmla="*/ 0 h 1663380"/>
                  <a:gd name="connsiteX1" fmla="*/ 4483414 w 4483414"/>
                  <a:gd name="connsiteY1" fmla="*/ 637222 h 1663380"/>
                  <a:gd name="connsiteX2" fmla="*/ 2590797 w 4483414"/>
                  <a:gd name="connsiteY2" fmla="*/ 1663380 h 1663380"/>
                  <a:gd name="connsiteX3" fmla="*/ 0 w 4483414"/>
                  <a:gd name="connsiteY3" fmla="*/ 710880 h 1663380"/>
                  <a:gd name="connsiteX4" fmla="*/ 1981200 w 4483414"/>
                  <a:gd name="connsiteY4" fmla="*/ 0 h 1663380"/>
                  <a:gd name="connsiteX0" fmla="*/ 2000250 w 4502464"/>
                  <a:gd name="connsiteY0" fmla="*/ 0 h 1663380"/>
                  <a:gd name="connsiteX1" fmla="*/ 4502464 w 4502464"/>
                  <a:gd name="connsiteY1" fmla="*/ 637222 h 1663380"/>
                  <a:gd name="connsiteX2" fmla="*/ 2609847 w 4502464"/>
                  <a:gd name="connsiteY2" fmla="*/ 1663380 h 1663380"/>
                  <a:gd name="connsiteX3" fmla="*/ 0 w 4502464"/>
                  <a:gd name="connsiteY3" fmla="*/ 706118 h 1663380"/>
                  <a:gd name="connsiteX4" fmla="*/ 2000250 w 4502464"/>
                  <a:gd name="connsiteY4" fmla="*/ 0 h 1663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02464" h="1663380">
                    <a:moveTo>
                      <a:pt x="2000250" y="0"/>
                    </a:moveTo>
                    <a:lnTo>
                      <a:pt x="4502464" y="637222"/>
                    </a:lnTo>
                    <a:lnTo>
                      <a:pt x="2609847" y="1663380"/>
                    </a:lnTo>
                    <a:lnTo>
                      <a:pt x="0" y="706118"/>
                    </a:lnTo>
                    <a:lnTo>
                      <a:pt x="2000250" y="0"/>
                    </a:lnTo>
                    <a:close/>
                  </a:path>
                </a:pathLst>
              </a:custGeom>
              <a:solidFill>
                <a:srgbClr val="475DA7">
                  <a:lumMod val="40000"/>
                  <a:lumOff val="60000"/>
                </a:srgbClr>
              </a:solidFill>
              <a:ln w="28575" cap="flat" cmpd="sng" algn="ctr">
                <a:solidFill>
                  <a:srgbClr val="000000">
                    <a:alpha val="2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475DA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89E0FF23-27E9-6A44-FC80-D580E3D8992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319588" y="3962400"/>
                <a:ext cx="1971675" cy="745331"/>
              </a:xfrm>
              <a:prstGeom prst="line">
                <a:avLst/>
              </a:prstGeom>
              <a:grpFill/>
              <a:ln w="6350" cap="flat" cmpd="sng" algn="ctr">
                <a:solidFill>
                  <a:srgbClr val="E66400">
                    <a:alpha val="2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9717F880-639C-A429-0459-96ADA3380B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267200" y="2409825"/>
                <a:ext cx="101600" cy="2070970"/>
              </a:xfrm>
              <a:prstGeom prst="line">
                <a:avLst/>
              </a:prstGeom>
              <a:grpFill/>
              <a:ln w="6350" cap="flat" cmpd="sng" algn="ctr">
                <a:solidFill>
                  <a:srgbClr val="E66400">
                    <a:alpha val="2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2726665E-1CE0-A30A-0374-9AF3A12E1B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91576" y="2350293"/>
                <a:ext cx="71706" cy="2030928"/>
              </a:xfrm>
              <a:prstGeom prst="line">
                <a:avLst/>
              </a:prstGeom>
              <a:grpFill/>
              <a:ln w="6350" cap="flat" cmpd="sng" algn="ctr">
                <a:solidFill>
                  <a:srgbClr val="E66400">
                    <a:alpha val="2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1E16CFE9-8B5F-DE6C-2DD5-6352F2FEB6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15952" y="2290761"/>
                <a:ext cx="46573" cy="1976439"/>
              </a:xfrm>
              <a:prstGeom prst="line">
                <a:avLst/>
              </a:prstGeom>
              <a:grpFill/>
              <a:ln w="6350" cap="flat" cmpd="sng" algn="ctr">
                <a:solidFill>
                  <a:srgbClr val="E66400">
                    <a:alpha val="2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8DADCC5E-DBE5-01AA-3E83-B86611D0ED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12557" y="2225175"/>
                <a:ext cx="37994" cy="1956060"/>
              </a:xfrm>
              <a:prstGeom prst="line">
                <a:avLst/>
              </a:prstGeom>
              <a:grpFill/>
              <a:ln w="6350" cap="flat" cmpd="sng" algn="ctr">
                <a:solidFill>
                  <a:srgbClr val="E66400">
                    <a:alpha val="2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650B2686-6AC3-E157-55A7-0F30B7C9F6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80953" y="2109701"/>
                <a:ext cx="7133" cy="1868530"/>
              </a:xfrm>
              <a:prstGeom prst="line">
                <a:avLst/>
              </a:prstGeom>
              <a:grpFill/>
              <a:ln w="6350" cap="flat" cmpd="sng" algn="ctr">
                <a:solidFill>
                  <a:srgbClr val="E66400">
                    <a:alpha val="2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C9798A61-D2DA-4E26-2BD1-FAFBFE9B3E7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32351" y="3524913"/>
                <a:ext cx="2004336" cy="685138"/>
              </a:xfrm>
              <a:prstGeom prst="line">
                <a:avLst/>
              </a:prstGeom>
              <a:grpFill/>
              <a:ln w="6350" cap="flat" cmpd="sng" algn="ctr">
                <a:solidFill>
                  <a:srgbClr val="E66400">
                    <a:alpha val="2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92460A5C-D3AD-57D3-CE39-5FACEBAF68A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971264" y="3179481"/>
                <a:ext cx="2066166" cy="624620"/>
              </a:xfrm>
              <a:prstGeom prst="line">
                <a:avLst/>
              </a:prstGeom>
              <a:grpFill/>
              <a:ln w="6350" cap="flat" cmpd="sng" algn="ctr">
                <a:solidFill>
                  <a:srgbClr val="E66400">
                    <a:alpha val="2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7F7FB500-87D7-2465-AF2F-BC7647F0AEC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947476" y="2791013"/>
                <a:ext cx="2095765" cy="555198"/>
              </a:xfrm>
              <a:prstGeom prst="line">
                <a:avLst/>
              </a:prstGeom>
              <a:grpFill/>
              <a:ln w="6350" cap="flat" cmpd="sng" algn="ctr">
                <a:solidFill>
                  <a:srgbClr val="E66400">
                    <a:alpha val="2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D8A1859E-4C22-68FD-DE86-2559008F0DC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938477" y="2425821"/>
                <a:ext cx="2098953" cy="475673"/>
              </a:xfrm>
              <a:prstGeom prst="line">
                <a:avLst/>
              </a:prstGeom>
              <a:grpFill/>
              <a:ln w="6350" cap="flat" cmpd="sng" algn="ctr">
                <a:solidFill>
                  <a:srgbClr val="E66400">
                    <a:alpha val="2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27" name="Rectangle 31">
                <a:extLst>
                  <a:ext uri="{FF2B5EF4-FFF2-40B4-BE49-F238E27FC236}">
                    <a16:creationId xmlns:a16="http://schemas.microsoft.com/office/drawing/2014/main" id="{3A3F7F22-7951-405C-DDD3-94F8AB5F1F8F}"/>
                  </a:ext>
                </a:extLst>
              </p:cNvPr>
              <p:cNvSpPr/>
              <p:nvPr/>
            </p:nvSpPr>
            <p:spPr>
              <a:xfrm flipH="1">
                <a:off x="3905065" y="2050733"/>
                <a:ext cx="2137287" cy="2541904"/>
              </a:xfrm>
              <a:custGeom>
                <a:avLst/>
                <a:gdLst>
                  <a:gd name="connsiteX0" fmla="*/ 0 w 2498282"/>
                  <a:gd name="connsiteY0" fmla="*/ 0 h 2480310"/>
                  <a:gd name="connsiteX1" fmla="*/ 2498282 w 2498282"/>
                  <a:gd name="connsiteY1" fmla="*/ 0 h 2480310"/>
                  <a:gd name="connsiteX2" fmla="*/ 2498282 w 2498282"/>
                  <a:gd name="connsiteY2" fmla="*/ 2480310 h 2480310"/>
                  <a:gd name="connsiteX3" fmla="*/ 0 w 2498282"/>
                  <a:gd name="connsiteY3" fmla="*/ 2480310 h 2480310"/>
                  <a:gd name="connsiteX4" fmla="*/ 0 w 2498282"/>
                  <a:gd name="connsiteY4" fmla="*/ 0 h 2480310"/>
                  <a:gd name="connsiteX0" fmla="*/ 0 w 2604962"/>
                  <a:gd name="connsiteY0" fmla="*/ 0 h 2480310"/>
                  <a:gd name="connsiteX1" fmla="*/ 2604962 w 2604962"/>
                  <a:gd name="connsiteY1" fmla="*/ 388620 h 2480310"/>
                  <a:gd name="connsiteX2" fmla="*/ 2498282 w 2604962"/>
                  <a:gd name="connsiteY2" fmla="*/ 2480310 h 2480310"/>
                  <a:gd name="connsiteX3" fmla="*/ 0 w 2604962"/>
                  <a:gd name="connsiteY3" fmla="*/ 2480310 h 2480310"/>
                  <a:gd name="connsiteX4" fmla="*/ 0 w 2604962"/>
                  <a:gd name="connsiteY4" fmla="*/ 0 h 2480310"/>
                  <a:gd name="connsiteX0" fmla="*/ 0 w 2604962"/>
                  <a:gd name="connsiteY0" fmla="*/ 0 h 2486660"/>
                  <a:gd name="connsiteX1" fmla="*/ 2604962 w 2604962"/>
                  <a:gd name="connsiteY1" fmla="*/ 388620 h 2486660"/>
                  <a:gd name="connsiteX2" fmla="*/ 2488757 w 2604962"/>
                  <a:gd name="connsiteY2" fmla="*/ 2486660 h 2486660"/>
                  <a:gd name="connsiteX3" fmla="*/ 0 w 2604962"/>
                  <a:gd name="connsiteY3" fmla="*/ 2480310 h 2486660"/>
                  <a:gd name="connsiteX4" fmla="*/ 0 w 2604962"/>
                  <a:gd name="connsiteY4" fmla="*/ 0 h 2486660"/>
                  <a:gd name="connsiteX0" fmla="*/ 0 w 2604962"/>
                  <a:gd name="connsiteY0" fmla="*/ 0 h 2486660"/>
                  <a:gd name="connsiteX1" fmla="*/ 2604962 w 2604962"/>
                  <a:gd name="connsiteY1" fmla="*/ 388620 h 2486660"/>
                  <a:gd name="connsiteX2" fmla="*/ 2488757 w 2604962"/>
                  <a:gd name="connsiteY2" fmla="*/ 2486660 h 2486660"/>
                  <a:gd name="connsiteX3" fmla="*/ 6350 w 2604962"/>
                  <a:gd name="connsiteY3" fmla="*/ 1861185 h 2486660"/>
                  <a:gd name="connsiteX4" fmla="*/ 0 w 2604962"/>
                  <a:gd name="connsiteY4" fmla="*/ 0 h 2486660"/>
                  <a:gd name="connsiteX0" fmla="*/ 0 w 2604962"/>
                  <a:gd name="connsiteY0" fmla="*/ 0 h 2479040"/>
                  <a:gd name="connsiteX1" fmla="*/ 2604962 w 2604962"/>
                  <a:gd name="connsiteY1" fmla="*/ 381000 h 2479040"/>
                  <a:gd name="connsiteX2" fmla="*/ 2488757 w 2604962"/>
                  <a:gd name="connsiteY2" fmla="*/ 2479040 h 2479040"/>
                  <a:gd name="connsiteX3" fmla="*/ 6350 w 2604962"/>
                  <a:gd name="connsiteY3" fmla="*/ 1853565 h 2479040"/>
                  <a:gd name="connsiteX4" fmla="*/ 0 w 2604962"/>
                  <a:gd name="connsiteY4" fmla="*/ 0 h 2479040"/>
                  <a:gd name="connsiteX0" fmla="*/ 0 w 2488757"/>
                  <a:gd name="connsiteY0" fmla="*/ 0 h 2479040"/>
                  <a:gd name="connsiteX1" fmla="*/ 2117282 w 2488757"/>
                  <a:gd name="connsiteY1" fmla="*/ 426720 h 2479040"/>
                  <a:gd name="connsiteX2" fmla="*/ 2488757 w 2488757"/>
                  <a:gd name="connsiteY2" fmla="*/ 2479040 h 2479040"/>
                  <a:gd name="connsiteX3" fmla="*/ 6350 w 2488757"/>
                  <a:gd name="connsiteY3" fmla="*/ 1853565 h 2479040"/>
                  <a:gd name="connsiteX4" fmla="*/ 0 w 2488757"/>
                  <a:gd name="connsiteY4" fmla="*/ 0 h 2479040"/>
                  <a:gd name="connsiteX0" fmla="*/ 0 w 2117282"/>
                  <a:gd name="connsiteY0" fmla="*/ 0 h 2570480"/>
                  <a:gd name="connsiteX1" fmla="*/ 2117282 w 2117282"/>
                  <a:gd name="connsiteY1" fmla="*/ 426720 h 2570480"/>
                  <a:gd name="connsiteX2" fmla="*/ 2046797 w 2117282"/>
                  <a:gd name="connsiteY2" fmla="*/ 2570480 h 2570480"/>
                  <a:gd name="connsiteX3" fmla="*/ 6350 w 2117282"/>
                  <a:gd name="connsiteY3" fmla="*/ 1853565 h 2570480"/>
                  <a:gd name="connsiteX4" fmla="*/ 0 w 2117282"/>
                  <a:gd name="connsiteY4" fmla="*/ 0 h 2570480"/>
                  <a:gd name="connsiteX0" fmla="*/ 0 w 2117282"/>
                  <a:gd name="connsiteY0" fmla="*/ 0 h 2546667"/>
                  <a:gd name="connsiteX1" fmla="*/ 2117282 w 2117282"/>
                  <a:gd name="connsiteY1" fmla="*/ 426720 h 2546667"/>
                  <a:gd name="connsiteX2" fmla="*/ 2018222 w 2117282"/>
                  <a:gd name="connsiteY2" fmla="*/ 2546667 h 2546667"/>
                  <a:gd name="connsiteX3" fmla="*/ 6350 w 2117282"/>
                  <a:gd name="connsiteY3" fmla="*/ 1853565 h 2546667"/>
                  <a:gd name="connsiteX4" fmla="*/ 0 w 2117282"/>
                  <a:gd name="connsiteY4" fmla="*/ 0 h 2546667"/>
                  <a:gd name="connsiteX0" fmla="*/ 0 w 2117282"/>
                  <a:gd name="connsiteY0" fmla="*/ 0 h 2546667"/>
                  <a:gd name="connsiteX1" fmla="*/ 2117282 w 2117282"/>
                  <a:gd name="connsiteY1" fmla="*/ 426720 h 2546667"/>
                  <a:gd name="connsiteX2" fmla="*/ 2008697 w 2117282"/>
                  <a:gd name="connsiteY2" fmla="*/ 2546667 h 2546667"/>
                  <a:gd name="connsiteX3" fmla="*/ 6350 w 2117282"/>
                  <a:gd name="connsiteY3" fmla="*/ 1853565 h 2546667"/>
                  <a:gd name="connsiteX4" fmla="*/ 0 w 2117282"/>
                  <a:gd name="connsiteY4" fmla="*/ 0 h 2546667"/>
                  <a:gd name="connsiteX0" fmla="*/ 0 w 2136332"/>
                  <a:gd name="connsiteY0" fmla="*/ 0 h 2532380"/>
                  <a:gd name="connsiteX1" fmla="*/ 2136332 w 2136332"/>
                  <a:gd name="connsiteY1" fmla="*/ 412433 h 2532380"/>
                  <a:gd name="connsiteX2" fmla="*/ 2027747 w 2136332"/>
                  <a:gd name="connsiteY2" fmla="*/ 2532380 h 2532380"/>
                  <a:gd name="connsiteX3" fmla="*/ 25400 w 2136332"/>
                  <a:gd name="connsiteY3" fmla="*/ 1839278 h 2532380"/>
                  <a:gd name="connsiteX4" fmla="*/ 0 w 2136332"/>
                  <a:gd name="connsiteY4" fmla="*/ 0 h 2532380"/>
                  <a:gd name="connsiteX0" fmla="*/ 0 w 2131569"/>
                  <a:gd name="connsiteY0" fmla="*/ 0 h 2537142"/>
                  <a:gd name="connsiteX1" fmla="*/ 2131569 w 2131569"/>
                  <a:gd name="connsiteY1" fmla="*/ 417195 h 2537142"/>
                  <a:gd name="connsiteX2" fmla="*/ 2022984 w 2131569"/>
                  <a:gd name="connsiteY2" fmla="*/ 2537142 h 2537142"/>
                  <a:gd name="connsiteX3" fmla="*/ 20637 w 2131569"/>
                  <a:gd name="connsiteY3" fmla="*/ 1844040 h 2537142"/>
                  <a:gd name="connsiteX4" fmla="*/ 0 w 2131569"/>
                  <a:gd name="connsiteY4" fmla="*/ 0 h 2537142"/>
                  <a:gd name="connsiteX0" fmla="*/ 0 w 2122044"/>
                  <a:gd name="connsiteY0" fmla="*/ 0 h 2541904"/>
                  <a:gd name="connsiteX1" fmla="*/ 2122044 w 2122044"/>
                  <a:gd name="connsiteY1" fmla="*/ 421957 h 2541904"/>
                  <a:gd name="connsiteX2" fmla="*/ 2013459 w 2122044"/>
                  <a:gd name="connsiteY2" fmla="*/ 2541904 h 2541904"/>
                  <a:gd name="connsiteX3" fmla="*/ 11112 w 2122044"/>
                  <a:gd name="connsiteY3" fmla="*/ 1848802 h 2541904"/>
                  <a:gd name="connsiteX4" fmla="*/ 0 w 2122044"/>
                  <a:gd name="connsiteY4" fmla="*/ 0 h 2541904"/>
                  <a:gd name="connsiteX0" fmla="*/ 15243 w 2137287"/>
                  <a:gd name="connsiteY0" fmla="*/ 0 h 2541904"/>
                  <a:gd name="connsiteX1" fmla="*/ 2137287 w 2137287"/>
                  <a:gd name="connsiteY1" fmla="*/ 421957 h 2541904"/>
                  <a:gd name="connsiteX2" fmla="*/ 2028702 w 2137287"/>
                  <a:gd name="connsiteY2" fmla="*/ 2541904 h 2541904"/>
                  <a:gd name="connsiteX3" fmla="*/ 162 w 2137287"/>
                  <a:gd name="connsiteY3" fmla="*/ 1846420 h 2541904"/>
                  <a:gd name="connsiteX4" fmla="*/ 15243 w 2137287"/>
                  <a:gd name="connsiteY4" fmla="*/ 0 h 2541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37287" h="2541904">
                    <a:moveTo>
                      <a:pt x="15243" y="0"/>
                    </a:moveTo>
                    <a:lnTo>
                      <a:pt x="2137287" y="421957"/>
                    </a:lnTo>
                    <a:lnTo>
                      <a:pt x="2028702" y="2541904"/>
                    </a:lnTo>
                    <a:lnTo>
                      <a:pt x="162" y="1846420"/>
                    </a:lnTo>
                    <a:cubicBezTo>
                      <a:pt x="-1955" y="1226025"/>
                      <a:pt x="17360" y="620395"/>
                      <a:pt x="15243" y="0"/>
                    </a:cubicBezTo>
                    <a:close/>
                  </a:path>
                </a:pathLst>
              </a:custGeom>
              <a:solidFill>
                <a:srgbClr val="475DA7">
                  <a:lumMod val="20000"/>
                  <a:lumOff val="80000"/>
                </a:srgbClr>
              </a:solidFill>
              <a:ln w="28575" cap="flat" cmpd="sng" algn="ctr">
                <a:solidFill>
                  <a:srgbClr val="000000">
                    <a:alpha val="2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475DA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EACC0217-B0B1-F028-BD44-B89B99DE2085}"/>
                </a:ext>
              </a:extLst>
            </p:cNvPr>
            <p:cNvCxnSpPr>
              <a:cxnSpLocks/>
              <a:endCxn id="15" idx="3"/>
            </p:cNvCxnSpPr>
            <p:nvPr/>
          </p:nvCxnSpPr>
          <p:spPr>
            <a:xfrm flipV="1">
              <a:off x="3599186" y="4088990"/>
              <a:ext cx="2452069" cy="755264"/>
            </a:xfrm>
            <a:prstGeom prst="straightConnector1">
              <a:avLst/>
            </a:prstGeom>
            <a:noFill/>
            <a:ln w="38100" cap="flat" cmpd="sng" algn="ctr">
              <a:solidFill>
                <a:srgbClr val="475DA7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33E05D6-79D3-862D-BABF-AB5C2A91664C}"/>
                </a:ext>
              </a:extLst>
            </p:cNvPr>
            <p:cNvSpPr txBox="1"/>
            <p:nvPr/>
          </p:nvSpPr>
          <p:spPr>
            <a:xfrm rot="21120000">
              <a:off x="3530021" y="3916612"/>
              <a:ext cx="2822509" cy="430887"/>
            </a:xfrm>
            <a:prstGeom prst="rect">
              <a:avLst/>
            </a:prstGeom>
            <a:noFill/>
            <a:scene3d>
              <a:camera prst="isometricOffAxis1Right"/>
              <a:lightRig rig="threePt" dir="t"/>
            </a:scene3d>
          </p:spPr>
          <p:txBody>
            <a:bodyPr wrap="square" rtlCol="0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475DA7"/>
                  </a:solidFill>
                  <a:effectLst/>
                  <a:uLnTx/>
                  <a:uFillTx/>
                  <a:latin typeface="Calibri" panose="020F0502020204030204"/>
                </a:rPr>
                <a:t>Across the lifespan</a:t>
              </a:r>
              <a:endParaRPr kumimoji="0" lang="en-IN" sz="2200" b="0" i="0" u="none" strike="noStrike" kern="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D587A59-C522-23D0-9F0D-A2766EBEB641}"/>
                </a:ext>
              </a:extLst>
            </p:cNvPr>
            <p:cNvSpPr txBox="1"/>
            <p:nvPr/>
          </p:nvSpPr>
          <p:spPr>
            <a:xfrm>
              <a:off x="2331073" y="1660728"/>
              <a:ext cx="2260091" cy="769441"/>
            </a:xfrm>
            <a:prstGeom prst="rect">
              <a:avLst/>
            </a:prstGeom>
            <a:noFill/>
            <a:scene3d>
              <a:camera prst="isometricOffAxis1Right"/>
              <a:lightRig rig="threePt" dir="t"/>
            </a:scene3d>
          </p:spPr>
          <p:txBody>
            <a:bodyPr wrap="square" rtlCol="0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475DA7"/>
                  </a:solidFill>
                  <a:effectLst/>
                  <a:uLnTx/>
                  <a:uFillTx/>
                  <a:latin typeface="Calibri" panose="020F0502020204030204"/>
                </a:rPr>
                <a:t>67 million</a:t>
              </a:r>
              <a:br>
                <a:rPr kumimoji="0" lang="en-US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475DA7"/>
                  </a:solidFill>
                  <a:effectLst/>
                  <a:uLnTx/>
                  <a:uFillTx/>
                  <a:latin typeface="Calibri" panose="020F0502020204030204"/>
                </a:rPr>
              </a:br>
              <a:r>
                <a:rPr kumimoji="0" lang="en-US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475DA7"/>
                  </a:solidFill>
                  <a:effectLst/>
                  <a:uLnTx/>
                  <a:uFillTx/>
                  <a:latin typeface="Calibri" panose="020F0502020204030204"/>
                </a:rPr>
                <a:t>people</a:t>
              </a:r>
              <a:endParaRPr kumimoji="0" lang="en-IN" sz="2200" b="0" i="0" u="none" strike="noStrike" kern="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64672CE-CEC6-CCD0-4B23-1006EF23536B}"/>
                </a:ext>
              </a:extLst>
            </p:cNvPr>
            <p:cNvSpPr txBox="1"/>
            <p:nvPr/>
          </p:nvSpPr>
          <p:spPr>
            <a:xfrm rot="717741">
              <a:off x="3446089" y="5358252"/>
              <a:ext cx="3174038" cy="430887"/>
            </a:xfrm>
            <a:prstGeom prst="rect">
              <a:avLst/>
            </a:prstGeom>
            <a:noFill/>
            <a:scene3d>
              <a:camera prst="isometricOffAxis2Left"/>
              <a:lightRig rig="threePt" dir="t"/>
            </a:scene3d>
          </p:spPr>
          <p:txBody>
            <a:bodyPr wrap="square" rtlCol="0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475DA7"/>
                  </a:solidFill>
                  <a:effectLst/>
                  <a:uLnTx/>
                  <a:uFillTx/>
                  <a:latin typeface="Calibri" panose="020F0502020204030204"/>
                </a:rPr>
                <a:t>D</a:t>
              </a:r>
              <a:r>
                <a:rPr kumimoji="0" lang="en-IN" sz="2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475DA7"/>
                  </a:solidFill>
                  <a:effectLst/>
                  <a:uLnTx/>
                  <a:uFillTx/>
                  <a:latin typeface="Calibri" panose="020F0502020204030204"/>
                </a:rPr>
                <a:t>iversity</a:t>
              </a:r>
              <a:r>
                <a:rPr kumimoji="0" lang="en-IN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475DA7"/>
                  </a:solidFill>
                  <a:effectLst/>
                  <a:uLnTx/>
                  <a:uFillTx/>
                  <a:latin typeface="Calibri" panose="020F0502020204030204"/>
                </a:rPr>
                <a:t> and detail</a:t>
              </a: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D6E158FD-F71F-C6B7-2DD7-3C30859A1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2929" y="2598871"/>
              <a:ext cx="5348071" cy="2247868"/>
            </a:xfrm>
            <a:custGeom>
              <a:avLst/>
              <a:gdLst>
                <a:gd name="T0" fmla="*/ 1518 w 1572"/>
                <a:gd name="T1" fmla="*/ 0 h 725"/>
                <a:gd name="T2" fmla="*/ 920 w 1572"/>
                <a:gd name="T3" fmla="*/ 417 h 725"/>
                <a:gd name="T4" fmla="*/ 0 w 1572"/>
                <a:gd name="T5" fmla="*/ 725 h 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72" h="725">
                  <a:moveTo>
                    <a:pt x="1518" y="0"/>
                  </a:moveTo>
                  <a:cubicBezTo>
                    <a:pt x="1518" y="0"/>
                    <a:pt x="1572" y="52"/>
                    <a:pt x="920" y="417"/>
                  </a:cubicBezTo>
                  <a:cubicBezTo>
                    <a:pt x="920" y="419"/>
                    <a:pt x="424" y="676"/>
                    <a:pt x="0" y="725"/>
                  </a:cubicBezTo>
                </a:path>
              </a:pathLst>
            </a:custGeom>
            <a:noFill/>
            <a:ln w="28575" cap="flat">
              <a:solidFill>
                <a:srgbClr val="E66400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200" b="0" i="0" u="none" strike="noStrike" kern="0" cap="none" spc="0" normalizeH="0" baseline="0" noProof="0" dirty="0">
                <a:ln>
                  <a:noFill/>
                </a:ln>
                <a:solidFill>
                  <a:srgbClr val="475DA7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52EF3BB-B83D-E2B2-6B0A-64AD27EB6AA3}"/>
                </a:ext>
              </a:extLst>
            </p:cNvPr>
            <p:cNvSpPr/>
            <p:nvPr/>
          </p:nvSpPr>
          <p:spPr>
            <a:xfrm>
              <a:off x="9326342" y="1628080"/>
              <a:ext cx="2071679" cy="914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200" b="0" i="0" u="none" strike="noStrike" kern="0" cap="none" spc="0" normalizeH="0" baseline="0" noProof="0" dirty="0">
                  <a:ln>
                    <a:noFill/>
                  </a:ln>
                  <a:solidFill>
                    <a:srgbClr val="475DA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-year vision</a:t>
              </a: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A0F67CF6-2901-F65C-58C6-21F4AB54842D}"/>
                </a:ext>
              </a:extLst>
            </p:cNvPr>
            <p:cNvCxnSpPr>
              <a:cxnSpLocks/>
            </p:cNvCxnSpPr>
            <p:nvPr/>
          </p:nvCxnSpPr>
          <p:spPr>
            <a:xfrm>
              <a:off x="3580268" y="4837151"/>
              <a:ext cx="3096885" cy="1102539"/>
            </a:xfrm>
            <a:prstGeom prst="straightConnector1">
              <a:avLst/>
            </a:prstGeom>
            <a:noFill/>
            <a:ln w="38100" cap="flat" cmpd="sng" algn="ctr">
              <a:solidFill>
                <a:srgbClr val="475DA7"/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E348161D-E13A-F0C8-1C60-3E2B5DDCCD40}"/>
              </a:ext>
            </a:extLst>
          </p:cNvPr>
          <p:cNvSpPr txBox="1"/>
          <p:nvPr/>
        </p:nvSpPr>
        <p:spPr>
          <a:xfrm>
            <a:off x="7965799" y="2463849"/>
            <a:ext cx="3508311" cy="19205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2200" dirty="0">
                <a:solidFill>
                  <a:srgbClr val="475DA7"/>
                </a:solidFill>
                <a:latin typeface="Calibri" panose="020F0502020204030204"/>
                <a:ea typeface="Source Sans Pro" panose="020B0503030403020204" pitchFamily="34" charset="0"/>
              </a:rPr>
              <a:t>For large-scale data and advanced analytics to benefit every patient interaction, clinical trial and biomedical discovery, and to enhance public health. </a:t>
            </a:r>
          </a:p>
        </p:txBody>
      </p:sp>
    </p:spTree>
    <p:extLst>
      <p:ext uri="{BB962C8B-B14F-4D97-AF65-F5344CB8AC3E}">
        <p14:creationId xmlns:p14="http://schemas.microsoft.com/office/powerpoint/2010/main" val="9736972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E98756-D9A8-C2B4-07F6-6DD6732EEC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3600" dirty="0">
                <a:cs typeface="Calibri"/>
              </a:rPr>
              <a:t>Innovation Gateway 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421C45-2D63-DB32-4F13-262D0B5D30E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9377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7VVngWjTJyOLCH7x6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z8k57wAx5pV1ey2K1vRQ"/>
</p:tagLst>
</file>

<file path=ppt/theme/theme1.xml><?xml version="1.0" encoding="utf-8"?>
<a:theme xmlns:a="http://schemas.openxmlformats.org/drawingml/2006/main" name="HDRUK_final">
  <a:themeElements>
    <a:clrScheme name="UKHDR Alliance 1">
      <a:dk1>
        <a:srgbClr val="3CB28C"/>
      </a:dk1>
      <a:lt1>
        <a:srgbClr val="FFFFFF"/>
      </a:lt1>
      <a:dk2>
        <a:srgbClr val="000000"/>
      </a:dk2>
      <a:lt2>
        <a:srgbClr val="E7E6E6"/>
      </a:lt2>
      <a:accent1>
        <a:srgbClr val="475DA7"/>
      </a:accent1>
      <a:accent2>
        <a:srgbClr val="3C3C3B"/>
      </a:accent2>
      <a:accent3>
        <a:srgbClr val="ADDAD9"/>
      </a:accent3>
      <a:accent4>
        <a:srgbClr val="D1D7DA"/>
      </a:accent4>
      <a:accent5>
        <a:srgbClr val="28235C"/>
      </a:accent5>
      <a:accent6>
        <a:srgbClr val="E66400"/>
      </a:accent6>
      <a:hlink>
        <a:srgbClr val="3CB28C"/>
      </a:hlink>
      <a:folHlink>
        <a:srgbClr val="3CB28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DR UK Powerpoint template widescreen_bluetext" id="{F260CD41-FBCF-1249-A6F6-64DA974EC9FE}" vid="{AAC46210-85EE-5242-BAB9-C234C3EB4F6B}"/>
    </a:ext>
  </a:extLst>
</a:theme>
</file>

<file path=ppt/theme/theme2.xml><?xml version="1.0" encoding="utf-8"?>
<a:theme xmlns:a="http://schemas.openxmlformats.org/drawingml/2006/main" name="1_HDRUK_final">
  <a:themeElements>
    <a:clrScheme name="UKHDR Alliance 1">
      <a:dk1>
        <a:srgbClr val="3CB28C"/>
      </a:dk1>
      <a:lt1>
        <a:srgbClr val="FFFFFF"/>
      </a:lt1>
      <a:dk2>
        <a:srgbClr val="000000"/>
      </a:dk2>
      <a:lt2>
        <a:srgbClr val="E7E6E6"/>
      </a:lt2>
      <a:accent1>
        <a:srgbClr val="475DA7"/>
      </a:accent1>
      <a:accent2>
        <a:srgbClr val="3C3C3B"/>
      </a:accent2>
      <a:accent3>
        <a:srgbClr val="ADDAD9"/>
      </a:accent3>
      <a:accent4>
        <a:srgbClr val="D1D7DA"/>
      </a:accent4>
      <a:accent5>
        <a:srgbClr val="28235C"/>
      </a:accent5>
      <a:accent6>
        <a:srgbClr val="E66400"/>
      </a:accent6>
      <a:hlink>
        <a:srgbClr val="3CB28C"/>
      </a:hlink>
      <a:folHlink>
        <a:srgbClr val="3CB28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DR UK Powerpoint template widescreen_bluetext" id="{F260CD41-FBCF-1249-A6F6-64DA974EC9FE}" vid="{AAC46210-85EE-5242-BAB9-C234C3EB4F6B}"/>
    </a:ext>
  </a:extLst>
</a:theme>
</file>

<file path=ppt/theme/theme3.xml><?xml version="1.0" encoding="utf-8"?>
<a:theme xmlns:a="http://schemas.openxmlformats.org/drawingml/2006/main" name="2_HDRUK_final">
  <a:themeElements>
    <a:clrScheme name="UKHDR Alliance 1">
      <a:dk1>
        <a:srgbClr val="3CB28C"/>
      </a:dk1>
      <a:lt1>
        <a:srgbClr val="FFFFFF"/>
      </a:lt1>
      <a:dk2>
        <a:srgbClr val="000000"/>
      </a:dk2>
      <a:lt2>
        <a:srgbClr val="E7E6E6"/>
      </a:lt2>
      <a:accent1>
        <a:srgbClr val="475DA7"/>
      </a:accent1>
      <a:accent2>
        <a:srgbClr val="3C3C3B"/>
      </a:accent2>
      <a:accent3>
        <a:srgbClr val="ADDAD9"/>
      </a:accent3>
      <a:accent4>
        <a:srgbClr val="D1D7DA"/>
      </a:accent4>
      <a:accent5>
        <a:srgbClr val="28235C"/>
      </a:accent5>
      <a:accent6>
        <a:srgbClr val="E66400"/>
      </a:accent6>
      <a:hlink>
        <a:srgbClr val="3CB28C"/>
      </a:hlink>
      <a:folHlink>
        <a:srgbClr val="3CB28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HDRUK_final">
  <a:themeElements>
    <a:clrScheme name="UKHDR Alliance 1">
      <a:dk1>
        <a:srgbClr val="3CB28C"/>
      </a:dk1>
      <a:lt1>
        <a:srgbClr val="FFFFFF"/>
      </a:lt1>
      <a:dk2>
        <a:srgbClr val="000000"/>
      </a:dk2>
      <a:lt2>
        <a:srgbClr val="E7E6E6"/>
      </a:lt2>
      <a:accent1>
        <a:srgbClr val="475DA7"/>
      </a:accent1>
      <a:accent2>
        <a:srgbClr val="3C3C3B"/>
      </a:accent2>
      <a:accent3>
        <a:srgbClr val="ADDAD9"/>
      </a:accent3>
      <a:accent4>
        <a:srgbClr val="D1D7DA"/>
      </a:accent4>
      <a:accent5>
        <a:srgbClr val="28235C"/>
      </a:accent5>
      <a:accent6>
        <a:srgbClr val="E66400"/>
      </a:accent6>
      <a:hlink>
        <a:srgbClr val="3CB28C"/>
      </a:hlink>
      <a:folHlink>
        <a:srgbClr val="3CB28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DR UK Powerpoint template widescreen_bluetext" id="{F260CD41-FBCF-1249-A6F6-64DA974EC9FE}" vid="{AAC46210-85EE-5242-BAB9-C234C3EB4F6B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631</TotalTime>
  <Words>793</Words>
  <Application>Microsoft Office PowerPoint</Application>
  <PresentationFormat>Widescreen</PresentationFormat>
  <Paragraphs>108</Paragraphs>
  <Slides>2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9" baseType="lpstr">
      <vt:lpstr>Arial</vt:lpstr>
      <vt:lpstr>Calibri</vt:lpstr>
      <vt:lpstr>Sky Text Medium</vt:lpstr>
      <vt:lpstr>Wingdings</vt:lpstr>
      <vt:lpstr>HDRUK_final</vt:lpstr>
      <vt:lpstr>1_HDRUK_final</vt:lpstr>
      <vt:lpstr>2_HDRUK_final</vt:lpstr>
      <vt:lpstr>3_HDRUK_final</vt:lpstr>
      <vt:lpstr>think-cell Slide</vt:lpstr>
      <vt:lpstr>Enhancing the researcher health data discovery journey through research project feasibility analysis using the Gateway Cohort Discovery tool</vt:lpstr>
      <vt:lpstr>Today’s talk</vt:lpstr>
      <vt:lpstr>Agenda</vt:lpstr>
      <vt:lpstr>Health Data Research (HDR) UK mission and goal</vt:lpstr>
      <vt:lpstr>  MISSION: to unite the UK’s health data to enable discoveries that improve people’s lives  VISION: for large-scale data and advanced analytics to benefit every patient interaction, clinical trial and biomedical discovery, and to enhance public health   </vt:lpstr>
      <vt:lpstr>What we are about?</vt:lpstr>
      <vt:lpstr>The problem we are trying to solve</vt:lpstr>
      <vt:lpstr>HDR UK enables studies on 67m people to accelerate research that improves lives</vt:lpstr>
      <vt:lpstr>Innovation Gateway </vt:lpstr>
      <vt:lpstr>The Gateway</vt:lpstr>
      <vt:lpstr>The current Gateway (Mk1)</vt:lpstr>
      <vt:lpstr>Gateway Mk2 – enhanced features</vt:lpstr>
      <vt:lpstr>Gateway as the ‘single front door’ for the NHS research SDE network</vt:lpstr>
      <vt:lpstr>Cohort Discovery tool</vt:lpstr>
      <vt:lpstr>What are the current barriers to discovering, identifying and accessing health data for research?</vt:lpstr>
      <vt:lpstr>Cohort Discovery tool</vt:lpstr>
      <vt:lpstr>Process overview</vt:lpstr>
      <vt:lpstr>Cohort Discovery explainer</vt:lpstr>
      <vt:lpstr>Benefit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earch Data Infrastructure &amp; Services</dc:title>
  <dc:creator>Clara Fennessy</dc:creator>
  <cp:lastModifiedBy>Isaac Odiase</cp:lastModifiedBy>
  <cp:revision>201</cp:revision>
  <dcterms:created xsi:type="dcterms:W3CDTF">2023-07-03T08:06:05Z</dcterms:created>
  <dcterms:modified xsi:type="dcterms:W3CDTF">2023-11-09T17:04:39Z</dcterms:modified>
</cp:coreProperties>
</file>